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2" r:id="rId1"/>
  </p:sldMasterIdLst>
  <p:notesMasterIdLst>
    <p:notesMasterId r:id="rId23"/>
  </p:notesMasterIdLst>
  <p:handoutMasterIdLst>
    <p:handoutMasterId r:id="rId24"/>
  </p:handoutMasterIdLst>
  <p:sldIdLst>
    <p:sldId id="567" r:id="rId2"/>
    <p:sldId id="562" r:id="rId3"/>
    <p:sldId id="579" r:id="rId4"/>
    <p:sldId id="569" r:id="rId5"/>
    <p:sldId id="564" r:id="rId6"/>
    <p:sldId id="581" r:id="rId7"/>
    <p:sldId id="580" r:id="rId8"/>
    <p:sldId id="574" r:id="rId9"/>
    <p:sldId id="575" r:id="rId10"/>
    <p:sldId id="586" r:id="rId11"/>
    <p:sldId id="578" r:id="rId12"/>
    <p:sldId id="577" r:id="rId13"/>
    <p:sldId id="571" r:id="rId14"/>
    <p:sldId id="583" r:id="rId15"/>
    <p:sldId id="585" r:id="rId16"/>
    <p:sldId id="584" r:id="rId17"/>
    <p:sldId id="573" r:id="rId18"/>
    <p:sldId id="576" r:id="rId19"/>
    <p:sldId id="559" r:id="rId20"/>
    <p:sldId id="568" r:id="rId21"/>
    <p:sldId id="582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CAD7"/>
    <a:srgbClr val="DEDEDE"/>
    <a:srgbClr val="D9D9D9"/>
    <a:srgbClr val="B8B8B8"/>
    <a:srgbClr val="4E7890"/>
    <a:srgbClr val="86A9BC"/>
    <a:srgbClr val="99B7C7"/>
    <a:srgbClr val="FFE8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-1152" y="-72"/>
      </p:cViewPr>
      <p:guideLst>
        <p:guide orient="horz" pos="684"/>
        <p:guide orient="horz" pos="4224"/>
        <p:guide pos="2880"/>
        <p:guide pos="102"/>
        <p:guide pos="567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74" d="100"/>
          <a:sy n="74" d="100"/>
        </p:scale>
        <p:origin x="-1884" y="-114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7713" cy="512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5491" tIns="47745" rIns="95491" bIns="47745" numCol="1" anchor="ctr" anchorCtr="0" compatLnSpc="1">
            <a:prstTxWarp prst="textNoShape">
              <a:avLst/>
            </a:prstTxWarp>
          </a:bodyPr>
          <a:lstStyle>
            <a:lvl1pPr algn="ctr" defTabSz="955675">
              <a:buClrTx/>
              <a:buSzTx/>
              <a:buFontTx/>
              <a:buNone/>
              <a:defRPr sz="1300"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09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0" y="9720263"/>
            <a:ext cx="7097713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91" tIns="47745" rIns="95491" bIns="47745" numCol="1" anchor="b" anchorCtr="0" compatLnSpc="1">
            <a:prstTxWarp prst="textNoShape">
              <a:avLst/>
            </a:prstTxWarp>
          </a:bodyPr>
          <a:lstStyle>
            <a:lvl1pPr algn="ctr" defTabSz="955675" eaLnBrk="0" hangingPunct="0">
              <a:defRPr sz="1300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DD8F6515-261F-44F4-AA64-B7BFB6F263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87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2763" y="409575"/>
            <a:ext cx="6075362" cy="4556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73075" y="5248275"/>
            <a:ext cx="6153150" cy="4576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4340" name="Rectangle 8"/>
          <p:cNvSpPr>
            <a:spLocks noChangeArrowheads="1"/>
          </p:cNvSpPr>
          <p:nvPr/>
        </p:nvSpPr>
        <p:spPr bwMode="auto">
          <a:xfrm>
            <a:off x="409575" y="9875838"/>
            <a:ext cx="6216650" cy="2524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7526" tIns="47909" rIns="97526" bIns="47909">
            <a:spAutoFit/>
          </a:bodyPr>
          <a:lstStyle/>
          <a:p>
            <a:pPr algn="ctr" defTabSz="987552">
              <a:buNone/>
            </a:pPr>
            <a:r>
              <a:rPr lang="en-US" sz="1000" b="0" i="0">
                <a:latin typeface="Arial"/>
                <a:ea typeface="ＭＳ Ｐゴシック"/>
                <a:cs typeface="+mn-cs"/>
              </a:rPr>
              <a:t> </a:t>
            </a:r>
            <a:fld id="{27F68E16-0301-4E74-9353-8DABEA4F72E6}" type="slidenum">
              <a:rPr lang="en-US" sz="1000" b="0" i="0">
                <a:latin typeface="Arial"/>
                <a:ea typeface="ＭＳ Ｐゴシック"/>
                <a:cs typeface="+mn-cs"/>
              </a:rPr>
              <a:pPr algn="ctr" defTabSz="987552">
                <a:buNone/>
              </a:pPr>
              <a:t>‹#›</a:t>
            </a:fld>
            <a:endParaRPr lang="en-US" sz="1000" b="0" i="0"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97746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75000"/>
      </a:spcBef>
      <a:spcAft>
        <a:spcPct val="0"/>
      </a:spcAft>
      <a:buClr>
        <a:schemeClr val="tx1"/>
      </a:buClr>
      <a:buSzPct val="80000"/>
      <a:buFont typeface="Wingdings" pitchFamily="2" charset="2"/>
      <a:defRPr sz="1200" kern="1200">
        <a:solidFill>
          <a:schemeClr val="tx1"/>
        </a:solidFill>
        <a:latin typeface="Arial" charset="0"/>
        <a:ea typeface="ＭＳ Ｐゴシック" charset="0"/>
        <a:cs typeface="Arial Unicode MS" pitchFamily="34" charset="-128"/>
      </a:defRPr>
    </a:lvl1pPr>
    <a:lvl2pPr marL="158750" indent="-157163" algn="l" rtl="0" eaLnBrk="0" fontAlgn="base" hangingPunct="0">
      <a:spcBef>
        <a:spcPct val="35000"/>
      </a:spcBef>
      <a:spcAft>
        <a:spcPct val="0"/>
      </a:spcAft>
      <a:buClr>
        <a:schemeClr val="accent1"/>
      </a:buClr>
      <a:buSzPct val="80000"/>
      <a:buFont typeface="Wingdings" pitchFamily="2" charset="2"/>
      <a:buChar char="n"/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368300" indent="-127000" algn="l" rtl="0" eaLnBrk="0" fontAlgn="base" hangingPunct="0">
      <a:spcBef>
        <a:spcPct val="0"/>
      </a:spcBef>
      <a:spcAft>
        <a:spcPct val="0"/>
      </a:spcAft>
      <a:buClr>
        <a:schemeClr val="accent2"/>
      </a:buClr>
      <a:buSzPct val="80000"/>
      <a:buFont typeface="Wingdings" pitchFamily="2" charset="2"/>
      <a:buChar char="n"/>
      <a:defRPr sz="10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590550" indent="-152400" algn="l" rtl="0" eaLnBrk="0" fontAlgn="base" hangingPunct="0">
      <a:spcBef>
        <a:spcPct val="0"/>
      </a:spcBef>
      <a:spcAft>
        <a:spcPct val="0"/>
      </a:spcAft>
      <a:buClr>
        <a:schemeClr val="accent2"/>
      </a:buClr>
      <a:buFont typeface="Arial" charset="0"/>
      <a:buChar char="–"/>
      <a:defRPr sz="10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2057400" indent="-228600" algn="l" rtl="0" eaLnBrk="0" fontAlgn="base" hangingPunct="0">
      <a:spcBef>
        <a:spcPct val="15000"/>
      </a:spcBef>
      <a:spcAft>
        <a:spcPct val="0"/>
      </a:spcAft>
      <a:buClr>
        <a:srgbClr val="44697D"/>
      </a:buClr>
      <a:buFont typeface="Arial" charset="0"/>
      <a:buChar char="-"/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rgbClr val="CC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152400" y="2601913"/>
            <a:ext cx="8839200" cy="409892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Arial" pitchFamily="34" charset="0"/>
              <a:ea typeface="Arial Unicode MS" pitchFamily="34" charset="-128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152400" y="152400"/>
            <a:ext cx="8839200" cy="2389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Arial" pitchFamily="34" charset="0"/>
              <a:ea typeface="Arial Unicode MS" pitchFamily="34" charset="-128"/>
            </a:endParaRPr>
          </a:p>
        </p:txBody>
      </p:sp>
      <p:sp>
        <p:nvSpPr>
          <p:cNvPr id="6" name="Freeform 28"/>
          <p:cNvSpPr>
            <a:spLocks/>
          </p:cNvSpPr>
          <p:nvPr/>
        </p:nvSpPr>
        <p:spPr bwMode="gray">
          <a:xfrm>
            <a:off x="8545513" y="6259513"/>
            <a:ext cx="457200" cy="457200"/>
          </a:xfrm>
          <a:custGeom>
            <a:avLst/>
            <a:gdLst>
              <a:gd name="T0" fmla="*/ 288 w 288"/>
              <a:gd name="T1" fmla="*/ 0 h 288"/>
              <a:gd name="T2" fmla="*/ 0 w 288"/>
              <a:gd name="T3" fmla="*/ 288 h 288"/>
              <a:gd name="T4" fmla="*/ 288 w 288"/>
              <a:gd name="T5" fmla="*/ 288 h 288"/>
              <a:gd name="T6" fmla="*/ 288 w 288"/>
              <a:gd name="T7" fmla="*/ 0 h 28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8" h="288">
                <a:moveTo>
                  <a:pt x="288" y="0"/>
                </a:moveTo>
                <a:lnTo>
                  <a:pt x="0" y="288"/>
                </a:lnTo>
                <a:lnTo>
                  <a:pt x="288" y="288"/>
                </a:lnTo>
                <a:lnTo>
                  <a:pt x="288" y="0"/>
                </a:lnTo>
                <a:close/>
              </a:path>
            </a:pathLst>
          </a:custGeom>
          <a:solidFill>
            <a:srgbClr val="CCCCCC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Arial" pitchFamily="34" charset="0"/>
            </a:endParaRPr>
          </a:p>
        </p:txBody>
      </p:sp>
      <p:grpSp>
        <p:nvGrpSpPr>
          <p:cNvPr id="7" name="Group 45"/>
          <p:cNvGrpSpPr>
            <a:grpSpLocks noChangeAspect="1"/>
          </p:cNvGrpSpPr>
          <p:nvPr/>
        </p:nvGrpSpPr>
        <p:grpSpPr bwMode="auto">
          <a:xfrm>
            <a:off x="4787900" y="6270625"/>
            <a:ext cx="4203700" cy="431800"/>
            <a:chOff x="3016" y="3950"/>
            <a:chExt cx="2648" cy="272"/>
          </a:xfrm>
        </p:grpSpPr>
        <p:sp>
          <p:nvSpPr>
            <p:cNvPr id="8" name="AutoShape 44"/>
            <p:cNvSpPr>
              <a:spLocks noChangeAspect="1" noChangeArrowheads="1" noTextEdit="1"/>
            </p:cNvSpPr>
            <p:nvPr userDrawn="1"/>
          </p:nvSpPr>
          <p:spPr bwMode="auto">
            <a:xfrm>
              <a:off x="3016" y="3950"/>
              <a:ext cx="2648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9" name="Freeform 46"/>
            <p:cNvSpPr>
              <a:spLocks/>
            </p:cNvSpPr>
            <p:nvPr userDrawn="1"/>
          </p:nvSpPr>
          <p:spPr bwMode="auto">
            <a:xfrm>
              <a:off x="5116" y="3950"/>
              <a:ext cx="548" cy="272"/>
            </a:xfrm>
            <a:custGeom>
              <a:avLst/>
              <a:gdLst>
                <a:gd name="T0" fmla="*/ 0 w 548"/>
                <a:gd name="T1" fmla="*/ 272 h 272"/>
                <a:gd name="T2" fmla="*/ 276 w 548"/>
                <a:gd name="T3" fmla="*/ 272 h 272"/>
                <a:gd name="T4" fmla="*/ 548 w 548"/>
                <a:gd name="T5" fmla="*/ 0 h 272"/>
                <a:gd name="T6" fmla="*/ 0 w 548"/>
                <a:gd name="T7" fmla="*/ 0 h 272"/>
                <a:gd name="T8" fmla="*/ 0 w 548"/>
                <a:gd name="T9" fmla="*/ 272 h 2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8" h="272">
                  <a:moveTo>
                    <a:pt x="0" y="272"/>
                  </a:moveTo>
                  <a:lnTo>
                    <a:pt x="276" y="272"/>
                  </a:lnTo>
                  <a:lnTo>
                    <a:pt x="548" y="0"/>
                  </a:lnTo>
                  <a:lnTo>
                    <a:pt x="0" y="0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04357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0" name="Freeform 47"/>
            <p:cNvSpPr>
              <a:spLocks/>
            </p:cNvSpPr>
            <p:nvPr userDrawn="1"/>
          </p:nvSpPr>
          <p:spPr bwMode="auto">
            <a:xfrm>
              <a:off x="5116" y="3950"/>
              <a:ext cx="548" cy="272"/>
            </a:xfrm>
            <a:custGeom>
              <a:avLst/>
              <a:gdLst>
                <a:gd name="T0" fmla="*/ 0 w 548"/>
                <a:gd name="T1" fmla="*/ 272 h 272"/>
                <a:gd name="T2" fmla="*/ 276 w 548"/>
                <a:gd name="T3" fmla="*/ 272 h 272"/>
                <a:gd name="T4" fmla="*/ 548 w 548"/>
                <a:gd name="T5" fmla="*/ 0 h 272"/>
                <a:gd name="T6" fmla="*/ 0 w 548"/>
                <a:gd name="T7" fmla="*/ 0 h 272"/>
                <a:gd name="T8" fmla="*/ 0 w 548"/>
                <a:gd name="T9" fmla="*/ 272 h 2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8" h="272">
                  <a:moveTo>
                    <a:pt x="0" y="272"/>
                  </a:moveTo>
                  <a:lnTo>
                    <a:pt x="276" y="272"/>
                  </a:lnTo>
                  <a:lnTo>
                    <a:pt x="548" y="0"/>
                  </a:lnTo>
                  <a:lnTo>
                    <a:pt x="0" y="0"/>
                  </a:lnTo>
                  <a:lnTo>
                    <a:pt x="0" y="27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1" name="Freeform 48"/>
            <p:cNvSpPr>
              <a:spLocks noEditPoints="1"/>
            </p:cNvSpPr>
            <p:nvPr userDrawn="1"/>
          </p:nvSpPr>
          <p:spPr bwMode="auto">
            <a:xfrm>
              <a:off x="5122" y="3998"/>
              <a:ext cx="394" cy="173"/>
            </a:xfrm>
            <a:custGeom>
              <a:avLst/>
              <a:gdLst>
                <a:gd name="T0" fmla="*/ 264 w 394"/>
                <a:gd name="T1" fmla="*/ 131 h 173"/>
                <a:gd name="T2" fmla="*/ 130 w 394"/>
                <a:gd name="T3" fmla="*/ 111 h 173"/>
                <a:gd name="T4" fmla="*/ 123 w 394"/>
                <a:gd name="T5" fmla="*/ 93 h 173"/>
                <a:gd name="T6" fmla="*/ 102 w 394"/>
                <a:gd name="T7" fmla="*/ 76 h 173"/>
                <a:gd name="T8" fmla="*/ 77 w 394"/>
                <a:gd name="T9" fmla="*/ 67 h 173"/>
                <a:gd name="T10" fmla="*/ 50 w 394"/>
                <a:gd name="T11" fmla="*/ 53 h 173"/>
                <a:gd name="T12" fmla="*/ 47 w 394"/>
                <a:gd name="T13" fmla="*/ 48 h 173"/>
                <a:gd name="T14" fmla="*/ 61 w 394"/>
                <a:gd name="T15" fmla="*/ 37 h 173"/>
                <a:gd name="T16" fmla="*/ 78 w 394"/>
                <a:gd name="T17" fmla="*/ 38 h 173"/>
                <a:gd name="T18" fmla="*/ 110 w 394"/>
                <a:gd name="T19" fmla="*/ 48 h 173"/>
                <a:gd name="T20" fmla="*/ 115 w 394"/>
                <a:gd name="T21" fmla="*/ 9 h 173"/>
                <a:gd name="T22" fmla="*/ 67 w 394"/>
                <a:gd name="T23" fmla="*/ 0 h 173"/>
                <a:gd name="T24" fmla="*/ 51 w 394"/>
                <a:gd name="T25" fmla="*/ 1 h 173"/>
                <a:gd name="T26" fmla="*/ 14 w 394"/>
                <a:gd name="T27" fmla="*/ 20 h 173"/>
                <a:gd name="T28" fmla="*/ 4 w 394"/>
                <a:gd name="T29" fmla="*/ 34 h 173"/>
                <a:gd name="T30" fmla="*/ 0 w 394"/>
                <a:gd name="T31" fmla="*/ 52 h 173"/>
                <a:gd name="T32" fmla="*/ 11 w 394"/>
                <a:gd name="T33" fmla="*/ 82 h 173"/>
                <a:gd name="T34" fmla="*/ 28 w 394"/>
                <a:gd name="T35" fmla="*/ 94 h 173"/>
                <a:gd name="T36" fmla="*/ 56 w 394"/>
                <a:gd name="T37" fmla="*/ 106 h 173"/>
                <a:gd name="T38" fmla="*/ 81 w 394"/>
                <a:gd name="T39" fmla="*/ 117 h 173"/>
                <a:gd name="T40" fmla="*/ 84 w 394"/>
                <a:gd name="T41" fmla="*/ 123 h 173"/>
                <a:gd name="T42" fmla="*/ 80 w 394"/>
                <a:gd name="T43" fmla="*/ 132 h 173"/>
                <a:gd name="T44" fmla="*/ 62 w 394"/>
                <a:gd name="T45" fmla="*/ 138 h 173"/>
                <a:gd name="T46" fmla="*/ 41 w 394"/>
                <a:gd name="T47" fmla="*/ 135 h 173"/>
                <a:gd name="T48" fmla="*/ 0 w 394"/>
                <a:gd name="T49" fmla="*/ 157 h 173"/>
                <a:gd name="T50" fmla="*/ 30 w 394"/>
                <a:gd name="T51" fmla="*/ 169 h 173"/>
                <a:gd name="T52" fmla="*/ 65 w 394"/>
                <a:gd name="T53" fmla="*/ 173 h 173"/>
                <a:gd name="T54" fmla="*/ 91 w 394"/>
                <a:gd name="T55" fmla="*/ 169 h 173"/>
                <a:gd name="T56" fmla="*/ 111 w 394"/>
                <a:gd name="T57" fmla="*/ 158 h 173"/>
                <a:gd name="T58" fmla="*/ 158 w 394"/>
                <a:gd name="T59" fmla="*/ 171 h 173"/>
                <a:gd name="T60" fmla="*/ 180 w 394"/>
                <a:gd name="T61" fmla="*/ 149 h 173"/>
                <a:gd name="T62" fmla="*/ 208 w 394"/>
                <a:gd name="T63" fmla="*/ 149 h 173"/>
                <a:gd name="T64" fmla="*/ 309 w 394"/>
                <a:gd name="T65" fmla="*/ 171 h 173"/>
                <a:gd name="T66" fmla="*/ 327 w 394"/>
                <a:gd name="T67" fmla="*/ 119 h 173"/>
                <a:gd name="T68" fmla="*/ 367 w 394"/>
                <a:gd name="T69" fmla="*/ 111 h 173"/>
                <a:gd name="T70" fmla="*/ 390 w 394"/>
                <a:gd name="T71" fmla="*/ 86 h 173"/>
                <a:gd name="T72" fmla="*/ 394 w 394"/>
                <a:gd name="T73" fmla="*/ 61 h 173"/>
                <a:gd name="T74" fmla="*/ 385 w 394"/>
                <a:gd name="T75" fmla="*/ 26 h 173"/>
                <a:gd name="T76" fmla="*/ 352 w 394"/>
                <a:gd name="T77" fmla="*/ 7 h 173"/>
                <a:gd name="T78" fmla="*/ 319 w 394"/>
                <a:gd name="T79" fmla="*/ 4 h 173"/>
                <a:gd name="T80" fmla="*/ 185 w 394"/>
                <a:gd name="T81" fmla="*/ 112 h 173"/>
                <a:gd name="T82" fmla="*/ 195 w 394"/>
                <a:gd name="T83" fmla="*/ 56 h 173"/>
                <a:gd name="T84" fmla="*/ 203 w 394"/>
                <a:gd name="T85" fmla="*/ 112 h 173"/>
                <a:gd name="T86" fmla="*/ 322 w 394"/>
                <a:gd name="T87" fmla="*/ 82 h 173"/>
                <a:gd name="T88" fmla="*/ 322 w 394"/>
                <a:gd name="T89" fmla="*/ 38 h 173"/>
                <a:gd name="T90" fmla="*/ 338 w 394"/>
                <a:gd name="T91" fmla="*/ 41 h 173"/>
                <a:gd name="T92" fmla="*/ 348 w 394"/>
                <a:gd name="T93" fmla="*/ 50 h 173"/>
                <a:gd name="T94" fmla="*/ 351 w 394"/>
                <a:gd name="T95" fmla="*/ 60 h 173"/>
                <a:gd name="T96" fmla="*/ 345 w 394"/>
                <a:gd name="T97" fmla="*/ 75 h 173"/>
                <a:gd name="T98" fmla="*/ 333 w 394"/>
                <a:gd name="T99" fmla="*/ 80 h 17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94" h="173">
                  <a:moveTo>
                    <a:pt x="319" y="4"/>
                  </a:moveTo>
                  <a:lnTo>
                    <a:pt x="264" y="4"/>
                  </a:lnTo>
                  <a:lnTo>
                    <a:pt x="264" y="131"/>
                  </a:lnTo>
                  <a:lnTo>
                    <a:pt x="218" y="4"/>
                  </a:lnTo>
                  <a:lnTo>
                    <a:pt x="171" y="4"/>
                  </a:lnTo>
                  <a:lnTo>
                    <a:pt x="130" y="111"/>
                  </a:lnTo>
                  <a:lnTo>
                    <a:pt x="128" y="101"/>
                  </a:lnTo>
                  <a:lnTo>
                    <a:pt x="123" y="93"/>
                  </a:lnTo>
                  <a:lnTo>
                    <a:pt x="118" y="87"/>
                  </a:lnTo>
                  <a:lnTo>
                    <a:pt x="110" y="82"/>
                  </a:lnTo>
                  <a:lnTo>
                    <a:pt x="102" y="76"/>
                  </a:lnTo>
                  <a:lnTo>
                    <a:pt x="93" y="74"/>
                  </a:lnTo>
                  <a:lnTo>
                    <a:pt x="77" y="67"/>
                  </a:lnTo>
                  <a:lnTo>
                    <a:pt x="66" y="63"/>
                  </a:lnTo>
                  <a:lnTo>
                    <a:pt x="56" y="59"/>
                  </a:lnTo>
                  <a:lnTo>
                    <a:pt x="50" y="53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48" y="44"/>
                  </a:lnTo>
                  <a:lnTo>
                    <a:pt x="52" y="39"/>
                  </a:lnTo>
                  <a:lnTo>
                    <a:pt x="61" y="37"/>
                  </a:lnTo>
                  <a:lnTo>
                    <a:pt x="71" y="37"/>
                  </a:lnTo>
                  <a:lnTo>
                    <a:pt x="78" y="38"/>
                  </a:lnTo>
                  <a:lnTo>
                    <a:pt x="88" y="39"/>
                  </a:lnTo>
                  <a:lnTo>
                    <a:pt x="97" y="42"/>
                  </a:lnTo>
                  <a:lnTo>
                    <a:pt x="110" y="48"/>
                  </a:lnTo>
                  <a:lnTo>
                    <a:pt x="129" y="15"/>
                  </a:lnTo>
                  <a:lnTo>
                    <a:pt x="115" y="9"/>
                  </a:lnTo>
                  <a:lnTo>
                    <a:pt x="99" y="4"/>
                  </a:lnTo>
                  <a:lnTo>
                    <a:pt x="84" y="1"/>
                  </a:lnTo>
                  <a:lnTo>
                    <a:pt x="67" y="0"/>
                  </a:lnTo>
                  <a:lnTo>
                    <a:pt x="51" y="1"/>
                  </a:lnTo>
                  <a:lnTo>
                    <a:pt x="37" y="5"/>
                  </a:lnTo>
                  <a:lnTo>
                    <a:pt x="24" y="12"/>
                  </a:lnTo>
                  <a:lnTo>
                    <a:pt x="14" y="20"/>
                  </a:lnTo>
                  <a:lnTo>
                    <a:pt x="9" y="27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2" y="63"/>
                  </a:lnTo>
                  <a:lnTo>
                    <a:pt x="6" y="74"/>
                  </a:lnTo>
                  <a:lnTo>
                    <a:pt x="11" y="82"/>
                  </a:lnTo>
                  <a:lnTo>
                    <a:pt x="20" y="89"/>
                  </a:lnTo>
                  <a:lnTo>
                    <a:pt x="28" y="94"/>
                  </a:lnTo>
                  <a:lnTo>
                    <a:pt x="37" y="100"/>
                  </a:lnTo>
                  <a:lnTo>
                    <a:pt x="56" y="106"/>
                  </a:lnTo>
                  <a:lnTo>
                    <a:pt x="67" y="109"/>
                  </a:lnTo>
                  <a:lnTo>
                    <a:pt x="76" y="113"/>
                  </a:lnTo>
                  <a:lnTo>
                    <a:pt x="81" y="117"/>
                  </a:lnTo>
                  <a:lnTo>
                    <a:pt x="82" y="120"/>
                  </a:lnTo>
                  <a:lnTo>
                    <a:pt x="84" y="123"/>
                  </a:lnTo>
                  <a:lnTo>
                    <a:pt x="82" y="128"/>
                  </a:lnTo>
                  <a:lnTo>
                    <a:pt x="80" y="132"/>
                  </a:lnTo>
                  <a:lnTo>
                    <a:pt x="77" y="134"/>
                  </a:lnTo>
                  <a:lnTo>
                    <a:pt x="73" y="137"/>
                  </a:lnTo>
                  <a:lnTo>
                    <a:pt x="62" y="138"/>
                  </a:lnTo>
                  <a:lnTo>
                    <a:pt x="51" y="137"/>
                  </a:lnTo>
                  <a:lnTo>
                    <a:pt x="41" y="135"/>
                  </a:lnTo>
                  <a:lnTo>
                    <a:pt x="30" y="131"/>
                  </a:lnTo>
                  <a:lnTo>
                    <a:pt x="18" y="124"/>
                  </a:lnTo>
                  <a:lnTo>
                    <a:pt x="0" y="157"/>
                  </a:lnTo>
                  <a:lnTo>
                    <a:pt x="15" y="164"/>
                  </a:lnTo>
                  <a:lnTo>
                    <a:pt x="30" y="169"/>
                  </a:lnTo>
                  <a:lnTo>
                    <a:pt x="46" y="172"/>
                  </a:lnTo>
                  <a:lnTo>
                    <a:pt x="62" y="173"/>
                  </a:lnTo>
                  <a:lnTo>
                    <a:pt x="65" y="173"/>
                  </a:lnTo>
                  <a:lnTo>
                    <a:pt x="78" y="172"/>
                  </a:lnTo>
                  <a:lnTo>
                    <a:pt x="91" y="169"/>
                  </a:lnTo>
                  <a:lnTo>
                    <a:pt x="102" y="165"/>
                  </a:lnTo>
                  <a:lnTo>
                    <a:pt x="111" y="158"/>
                  </a:lnTo>
                  <a:lnTo>
                    <a:pt x="114" y="157"/>
                  </a:lnTo>
                  <a:lnTo>
                    <a:pt x="108" y="171"/>
                  </a:lnTo>
                  <a:lnTo>
                    <a:pt x="158" y="171"/>
                  </a:lnTo>
                  <a:lnTo>
                    <a:pt x="166" y="146"/>
                  </a:lnTo>
                  <a:lnTo>
                    <a:pt x="180" y="149"/>
                  </a:lnTo>
                  <a:lnTo>
                    <a:pt x="195" y="150"/>
                  </a:lnTo>
                  <a:lnTo>
                    <a:pt x="208" y="149"/>
                  </a:lnTo>
                  <a:lnTo>
                    <a:pt x="222" y="146"/>
                  </a:lnTo>
                  <a:lnTo>
                    <a:pt x="230" y="171"/>
                  </a:lnTo>
                  <a:lnTo>
                    <a:pt x="309" y="171"/>
                  </a:lnTo>
                  <a:lnTo>
                    <a:pt x="309" y="119"/>
                  </a:lnTo>
                  <a:lnTo>
                    <a:pt x="327" y="119"/>
                  </a:lnTo>
                  <a:lnTo>
                    <a:pt x="342" y="119"/>
                  </a:lnTo>
                  <a:lnTo>
                    <a:pt x="356" y="115"/>
                  </a:lnTo>
                  <a:lnTo>
                    <a:pt x="367" y="111"/>
                  </a:lnTo>
                  <a:lnTo>
                    <a:pt x="377" y="104"/>
                  </a:lnTo>
                  <a:lnTo>
                    <a:pt x="385" y="96"/>
                  </a:lnTo>
                  <a:lnTo>
                    <a:pt x="390" y="86"/>
                  </a:lnTo>
                  <a:lnTo>
                    <a:pt x="393" y="75"/>
                  </a:lnTo>
                  <a:lnTo>
                    <a:pt x="394" y="61"/>
                  </a:lnTo>
                  <a:lnTo>
                    <a:pt x="393" y="48"/>
                  </a:lnTo>
                  <a:lnTo>
                    <a:pt x="390" y="35"/>
                  </a:lnTo>
                  <a:lnTo>
                    <a:pt x="385" y="26"/>
                  </a:lnTo>
                  <a:lnTo>
                    <a:pt x="377" y="18"/>
                  </a:lnTo>
                  <a:lnTo>
                    <a:pt x="366" y="11"/>
                  </a:lnTo>
                  <a:lnTo>
                    <a:pt x="352" y="7"/>
                  </a:lnTo>
                  <a:lnTo>
                    <a:pt x="337" y="4"/>
                  </a:lnTo>
                  <a:lnTo>
                    <a:pt x="319" y="4"/>
                  </a:lnTo>
                  <a:close/>
                  <a:moveTo>
                    <a:pt x="195" y="113"/>
                  </a:moveTo>
                  <a:lnTo>
                    <a:pt x="195" y="113"/>
                  </a:lnTo>
                  <a:lnTo>
                    <a:pt x="185" y="112"/>
                  </a:lnTo>
                  <a:lnTo>
                    <a:pt x="177" y="111"/>
                  </a:lnTo>
                  <a:lnTo>
                    <a:pt x="193" y="56"/>
                  </a:lnTo>
                  <a:lnTo>
                    <a:pt x="195" y="56"/>
                  </a:lnTo>
                  <a:lnTo>
                    <a:pt x="211" y="111"/>
                  </a:lnTo>
                  <a:lnTo>
                    <a:pt x="203" y="112"/>
                  </a:lnTo>
                  <a:lnTo>
                    <a:pt x="195" y="113"/>
                  </a:lnTo>
                  <a:close/>
                  <a:moveTo>
                    <a:pt x="322" y="82"/>
                  </a:moveTo>
                  <a:lnTo>
                    <a:pt x="309" y="82"/>
                  </a:lnTo>
                  <a:lnTo>
                    <a:pt x="309" y="38"/>
                  </a:lnTo>
                  <a:lnTo>
                    <a:pt x="322" y="38"/>
                  </a:lnTo>
                  <a:lnTo>
                    <a:pt x="333" y="39"/>
                  </a:lnTo>
                  <a:lnTo>
                    <a:pt x="338" y="41"/>
                  </a:lnTo>
                  <a:lnTo>
                    <a:pt x="342" y="44"/>
                  </a:lnTo>
                  <a:lnTo>
                    <a:pt x="345" y="46"/>
                  </a:lnTo>
                  <a:lnTo>
                    <a:pt x="348" y="50"/>
                  </a:lnTo>
                  <a:lnTo>
                    <a:pt x="351" y="55"/>
                  </a:lnTo>
                  <a:lnTo>
                    <a:pt x="351" y="60"/>
                  </a:lnTo>
                  <a:lnTo>
                    <a:pt x="351" y="65"/>
                  </a:lnTo>
                  <a:lnTo>
                    <a:pt x="348" y="71"/>
                  </a:lnTo>
                  <a:lnTo>
                    <a:pt x="345" y="75"/>
                  </a:lnTo>
                  <a:lnTo>
                    <a:pt x="342" y="78"/>
                  </a:lnTo>
                  <a:lnTo>
                    <a:pt x="338" y="79"/>
                  </a:lnTo>
                  <a:lnTo>
                    <a:pt x="333" y="80"/>
                  </a:lnTo>
                  <a:lnTo>
                    <a:pt x="322" y="8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2" name="Freeform 49"/>
            <p:cNvSpPr>
              <a:spLocks/>
            </p:cNvSpPr>
            <p:nvPr userDrawn="1"/>
          </p:nvSpPr>
          <p:spPr bwMode="auto">
            <a:xfrm>
              <a:off x="5122" y="3998"/>
              <a:ext cx="394" cy="173"/>
            </a:xfrm>
            <a:custGeom>
              <a:avLst/>
              <a:gdLst>
                <a:gd name="T0" fmla="*/ 264 w 394"/>
                <a:gd name="T1" fmla="*/ 4 h 173"/>
                <a:gd name="T2" fmla="*/ 218 w 394"/>
                <a:gd name="T3" fmla="*/ 4 h 173"/>
                <a:gd name="T4" fmla="*/ 130 w 394"/>
                <a:gd name="T5" fmla="*/ 111 h 173"/>
                <a:gd name="T6" fmla="*/ 128 w 394"/>
                <a:gd name="T7" fmla="*/ 101 h 173"/>
                <a:gd name="T8" fmla="*/ 118 w 394"/>
                <a:gd name="T9" fmla="*/ 87 h 173"/>
                <a:gd name="T10" fmla="*/ 102 w 394"/>
                <a:gd name="T11" fmla="*/ 76 h 173"/>
                <a:gd name="T12" fmla="*/ 77 w 394"/>
                <a:gd name="T13" fmla="*/ 67 h 173"/>
                <a:gd name="T14" fmla="*/ 66 w 394"/>
                <a:gd name="T15" fmla="*/ 63 h 173"/>
                <a:gd name="T16" fmla="*/ 50 w 394"/>
                <a:gd name="T17" fmla="*/ 53 h 173"/>
                <a:gd name="T18" fmla="*/ 47 w 394"/>
                <a:gd name="T19" fmla="*/ 48 h 173"/>
                <a:gd name="T20" fmla="*/ 48 w 394"/>
                <a:gd name="T21" fmla="*/ 44 h 173"/>
                <a:gd name="T22" fmla="*/ 61 w 394"/>
                <a:gd name="T23" fmla="*/ 37 h 173"/>
                <a:gd name="T24" fmla="*/ 71 w 394"/>
                <a:gd name="T25" fmla="*/ 37 h 173"/>
                <a:gd name="T26" fmla="*/ 88 w 394"/>
                <a:gd name="T27" fmla="*/ 39 h 173"/>
                <a:gd name="T28" fmla="*/ 110 w 394"/>
                <a:gd name="T29" fmla="*/ 48 h 173"/>
                <a:gd name="T30" fmla="*/ 129 w 394"/>
                <a:gd name="T31" fmla="*/ 15 h 173"/>
                <a:gd name="T32" fmla="*/ 99 w 394"/>
                <a:gd name="T33" fmla="*/ 4 h 173"/>
                <a:gd name="T34" fmla="*/ 67 w 394"/>
                <a:gd name="T35" fmla="*/ 0 h 173"/>
                <a:gd name="T36" fmla="*/ 67 w 394"/>
                <a:gd name="T37" fmla="*/ 0 h 173"/>
                <a:gd name="T38" fmla="*/ 37 w 394"/>
                <a:gd name="T39" fmla="*/ 5 h 173"/>
                <a:gd name="T40" fmla="*/ 14 w 394"/>
                <a:gd name="T41" fmla="*/ 20 h 173"/>
                <a:gd name="T42" fmla="*/ 9 w 394"/>
                <a:gd name="T43" fmla="*/ 27 h 173"/>
                <a:gd name="T44" fmla="*/ 2 w 394"/>
                <a:gd name="T45" fmla="*/ 42 h 173"/>
                <a:gd name="T46" fmla="*/ 0 w 394"/>
                <a:gd name="T47" fmla="*/ 52 h 173"/>
                <a:gd name="T48" fmla="*/ 6 w 394"/>
                <a:gd name="T49" fmla="*/ 74 h 173"/>
                <a:gd name="T50" fmla="*/ 20 w 394"/>
                <a:gd name="T51" fmla="*/ 89 h 173"/>
                <a:gd name="T52" fmla="*/ 28 w 394"/>
                <a:gd name="T53" fmla="*/ 94 h 173"/>
                <a:gd name="T54" fmla="*/ 56 w 394"/>
                <a:gd name="T55" fmla="*/ 106 h 173"/>
                <a:gd name="T56" fmla="*/ 67 w 394"/>
                <a:gd name="T57" fmla="*/ 109 h 173"/>
                <a:gd name="T58" fmla="*/ 81 w 394"/>
                <a:gd name="T59" fmla="*/ 117 h 173"/>
                <a:gd name="T60" fmla="*/ 84 w 394"/>
                <a:gd name="T61" fmla="*/ 123 h 173"/>
                <a:gd name="T62" fmla="*/ 82 w 394"/>
                <a:gd name="T63" fmla="*/ 128 h 173"/>
                <a:gd name="T64" fmla="*/ 80 w 394"/>
                <a:gd name="T65" fmla="*/ 132 h 173"/>
                <a:gd name="T66" fmla="*/ 73 w 394"/>
                <a:gd name="T67" fmla="*/ 137 h 173"/>
                <a:gd name="T68" fmla="*/ 62 w 394"/>
                <a:gd name="T69" fmla="*/ 138 h 173"/>
                <a:gd name="T70" fmla="*/ 41 w 394"/>
                <a:gd name="T71" fmla="*/ 135 h 173"/>
                <a:gd name="T72" fmla="*/ 18 w 394"/>
                <a:gd name="T73" fmla="*/ 124 h 173"/>
                <a:gd name="T74" fmla="*/ 0 w 394"/>
                <a:gd name="T75" fmla="*/ 157 h 173"/>
                <a:gd name="T76" fmla="*/ 30 w 394"/>
                <a:gd name="T77" fmla="*/ 169 h 173"/>
                <a:gd name="T78" fmla="*/ 62 w 394"/>
                <a:gd name="T79" fmla="*/ 173 h 173"/>
                <a:gd name="T80" fmla="*/ 65 w 394"/>
                <a:gd name="T81" fmla="*/ 173 h 173"/>
                <a:gd name="T82" fmla="*/ 91 w 394"/>
                <a:gd name="T83" fmla="*/ 169 h 173"/>
                <a:gd name="T84" fmla="*/ 111 w 394"/>
                <a:gd name="T85" fmla="*/ 158 h 173"/>
                <a:gd name="T86" fmla="*/ 114 w 394"/>
                <a:gd name="T87" fmla="*/ 157 h 173"/>
                <a:gd name="T88" fmla="*/ 158 w 394"/>
                <a:gd name="T89" fmla="*/ 171 h 173"/>
                <a:gd name="T90" fmla="*/ 166 w 394"/>
                <a:gd name="T91" fmla="*/ 146 h 173"/>
                <a:gd name="T92" fmla="*/ 195 w 394"/>
                <a:gd name="T93" fmla="*/ 150 h 173"/>
                <a:gd name="T94" fmla="*/ 208 w 394"/>
                <a:gd name="T95" fmla="*/ 149 h 173"/>
                <a:gd name="T96" fmla="*/ 230 w 394"/>
                <a:gd name="T97" fmla="*/ 171 h 173"/>
                <a:gd name="T98" fmla="*/ 309 w 394"/>
                <a:gd name="T99" fmla="*/ 119 h 173"/>
                <a:gd name="T100" fmla="*/ 327 w 394"/>
                <a:gd name="T101" fmla="*/ 119 h 173"/>
                <a:gd name="T102" fmla="*/ 356 w 394"/>
                <a:gd name="T103" fmla="*/ 115 h 173"/>
                <a:gd name="T104" fmla="*/ 377 w 394"/>
                <a:gd name="T105" fmla="*/ 104 h 173"/>
                <a:gd name="T106" fmla="*/ 390 w 394"/>
                <a:gd name="T107" fmla="*/ 86 h 173"/>
                <a:gd name="T108" fmla="*/ 394 w 394"/>
                <a:gd name="T109" fmla="*/ 61 h 173"/>
                <a:gd name="T110" fmla="*/ 393 w 394"/>
                <a:gd name="T111" fmla="*/ 48 h 173"/>
                <a:gd name="T112" fmla="*/ 385 w 394"/>
                <a:gd name="T113" fmla="*/ 26 h 173"/>
                <a:gd name="T114" fmla="*/ 366 w 394"/>
                <a:gd name="T115" fmla="*/ 11 h 173"/>
                <a:gd name="T116" fmla="*/ 337 w 394"/>
                <a:gd name="T117" fmla="*/ 4 h 173"/>
                <a:gd name="T118" fmla="*/ 319 w 394"/>
                <a:gd name="T119" fmla="*/ 4 h 1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4" h="173">
                  <a:moveTo>
                    <a:pt x="319" y="4"/>
                  </a:moveTo>
                  <a:lnTo>
                    <a:pt x="264" y="4"/>
                  </a:lnTo>
                  <a:lnTo>
                    <a:pt x="264" y="131"/>
                  </a:lnTo>
                  <a:lnTo>
                    <a:pt x="218" y="4"/>
                  </a:lnTo>
                  <a:lnTo>
                    <a:pt x="171" y="4"/>
                  </a:lnTo>
                  <a:lnTo>
                    <a:pt x="130" y="111"/>
                  </a:lnTo>
                  <a:lnTo>
                    <a:pt x="128" y="101"/>
                  </a:lnTo>
                  <a:lnTo>
                    <a:pt x="123" y="93"/>
                  </a:lnTo>
                  <a:lnTo>
                    <a:pt x="118" y="87"/>
                  </a:lnTo>
                  <a:lnTo>
                    <a:pt x="110" y="82"/>
                  </a:lnTo>
                  <a:lnTo>
                    <a:pt x="102" y="76"/>
                  </a:lnTo>
                  <a:lnTo>
                    <a:pt x="93" y="74"/>
                  </a:lnTo>
                  <a:lnTo>
                    <a:pt x="77" y="67"/>
                  </a:lnTo>
                  <a:lnTo>
                    <a:pt x="66" y="63"/>
                  </a:lnTo>
                  <a:lnTo>
                    <a:pt x="56" y="59"/>
                  </a:lnTo>
                  <a:lnTo>
                    <a:pt x="50" y="53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48" y="44"/>
                  </a:lnTo>
                  <a:lnTo>
                    <a:pt x="52" y="39"/>
                  </a:lnTo>
                  <a:lnTo>
                    <a:pt x="61" y="37"/>
                  </a:lnTo>
                  <a:lnTo>
                    <a:pt x="71" y="37"/>
                  </a:lnTo>
                  <a:lnTo>
                    <a:pt x="78" y="38"/>
                  </a:lnTo>
                  <a:lnTo>
                    <a:pt x="88" y="39"/>
                  </a:lnTo>
                  <a:lnTo>
                    <a:pt x="97" y="42"/>
                  </a:lnTo>
                  <a:lnTo>
                    <a:pt x="110" y="48"/>
                  </a:lnTo>
                  <a:lnTo>
                    <a:pt x="129" y="15"/>
                  </a:lnTo>
                  <a:lnTo>
                    <a:pt x="115" y="9"/>
                  </a:lnTo>
                  <a:lnTo>
                    <a:pt x="99" y="4"/>
                  </a:lnTo>
                  <a:lnTo>
                    <a:pt x="84" y="1"/>
                  </a:lnTo>
                  <a:lnTo>
                    <a:pt x="67" y="0"/>
                  </a:lnTo>
                  <a:lnTo>
                    <a:pt x="51" y="1"/>
                  </a:lnTo>
                  <a:lnTo>
                    <a:pt x="37" y="5"/>
                  </a:lnTo>
                  <a:lnTo>
                    <a:pt x="24" y="12"/>
                  </a:lnTo>
                  <a:lnTo>
                    <a:pt x="14" y="20"/>
                  </a:lnTo>
                  <a:lnTo>
                    <a:pt x="9" y="27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2" y="63"/>
                  </a:lnTo>
                  <a:lnTo>
                    <a:pt x="6" y="74"/>
                  </a:lnTo>
                  <a:lnTo>
                    <a:pt x="11" y="82"/>
                  </a:lnTo>
                  <a:lnTo>
                    <a:pt x="20" y="89"/>
                  </a:lnTo>
                  <a:lnTo>
                    <a:pt x="28" y="94"/>
                  </a:lnTo>
                  <a:lnTo>
                    <a:pt x="37" y="100"/>
                  </a:lnTo>
                  <a:lnTo>
                    <a:pt x="56" y="106"/>
                  </a:lnTo>
                  <a:lnTo>
                    <a:pt x="67" y="109"/>
                  </a:lnTo>
                  <a:lnTo>
                    <a:pt x="76" y="113"/>
                  </a:lnTo>
                  <a:lnTo>
                    <a:pt x="81" y="117"/>
                  </a:lnTo>
                  <a:lnTo>
                    <a:pt x="82" y="120"/>
                  </a:lnTo>
                  <a:lnTo>
                    <a:pt x="84" y="123"/>
                  </a:lnTo>
                  <a:lnTo>
                    <a:pt x="82" y="128"/>
                  </a:lnTo>
                  <a:lnTo>
                    <a:pt x="80" y="132"/>
                  </a:lnTo>
                  <a:lnTo>
                    <a:pt x="77" y="134"/>
                  </a:lnTo>
                  <a:lnTo>
                    <a:pt x="73" y="137"/>
                  </a:lnTo>
                  <a:lnTo>
                    <a:pt x="62" y="138"/>
                  </a:lnTo>
                  <a:lnTo>
                    <a:pt x="51" y="137"/>
                  </a:lnTo>
                  <a:lnTo>
                    <a:pt x="41" y="135"/>
                  </a:lnTo>
                  <a:lnTo>
                    <a:pt x="30" y="131"/>
                  </a:lnTo>
                  <a:lnTo>
                    <a:pt x="18" y="124"/>
                  </a:lnTo>
                  <a:lnTo>
                    <a:pt x="0" y="157"/>
                  </a:lnTo>
                  <a:lnTo>
                    <a:pt x="15" y="164"/>
                  </a:lnTo>
                  <a:lnTo>
                    <a:pt x="30" y="169"/>
                  </a:lnTo>
                  <a:lnTo>
                    <a:pt x="46" y="172"/>
                  </a:lnTo>
                  <a:lnTo>
                    <a:pt x="62" y="173"/>
                  </a:lnTo>
                  <a:lnTo>
                    <a:pt x="65" y="173"/>
                  </a:lnTo>
                  <a:lnTo>
                    <a:pt x="78" y="172"/>
                  </a:lnTo>
                  <a:lnTo>
                    <a:pt x="91" y="169"/>
                  </a:lnTo>
                  <a:lnTo>
                    <a:pt x="102" y="165"/>
                  </a:lnTo>
                  <a:lnTo>
                    <a:pt x="111" y="158"/>
                  </a:lnTo>
                  <a:lnTo>
                    <a:pt x="114" y="157"/>
                  </a:lnTo>
                  <a:lnTo>
                    <a:pt x="108" y="171"/>
                  </a:lnTo>
                  <a:lnTo>
                    <a:pt x="158" y="171"/>
                  </a:lnTo>
                  <a:lnTo>
                    <a:pt x="166" y="146"/>
                  </a:lnTo>
                  <a:lnTo>
                    <a:pt x="180" y="149"/>
                  </a:lnTo>
                  <a:lnTo>
                    <a:pt x="195" y="150"/>
                  </a:lnTo>
                  <a:lnTo>
                    <a:pt x="208" y="149"/>
                  </a:lnTo>
                  <a:lnTo>
                    <a:pt x="222" y="146"/>
                  </a:lnTo>
                  <a:lnTo>
                    <a:pt x="230" y="171"/>
                  </a:lnTo>
                  <a:lnTo>
                    <a:pt x="309" y="171"/>
                  </a:lnTo>
                  <a:lnTo>
                    <a:pt x="309" y="119"/>
                  </a:lnTo>
                  <a:lnTo>
                    <a:pt x="327" y="119"/>
                  </a:lnTo>
                  <a:lnTo>
                    <a:pt x="342" y="119"/>
                  </a:lnTo>
                  <a:lnTo>
                    <a:pt x="356" y="115"/>
                  </a:lnTo>
                  <a:lnTo>
                    <a:pt x="367" y="111"/>
                  </a:lnTo>
                  <a:lnTo>
                    <a:pt x="377" y="104"/>
                  </a:lnTo>
                  <a:lnTo>
                    <a:pt x="385" y="96"/>
                  </a:lnTo>
                  <a:lnTo>
                    <a:pt x="390" y="86"/>
                  </a:lnTo>
                  <a:lnTo>
                    <a:pt x="393" y="75"/>
                  </a:lnTo>
                  <a:lnTo>
                    <a:pt x="394" y="61"/>
                  </a:lnTo>
                  <a:lnTo>
                    <a:pt x="393" y="48"/>
                  </a:lnTo>
                  <a:lnTo>
                    <a:pt x="390" y="35"/>
                  </a:lnTo>
                  <a:lnTo>
                    <a:pt x="385" y="26"/>
                  </a:lnTo>
                  <a:lnTo>
                    <a:pt x="377" y="18"/>
                  </a:lnTo>
                  <a:lnTo>
                    <a:pt x="366" y="11"/>
                  </a:lnTo>
                  <a:lnTo>
                    <a:pt x="352" y="7"/>
                  </a:lnTo>
                  <a:lnTo>
                    <a:pt x="337" y="4"/>
                  </a:lnTo>
                  <a:lnTo>
                    <a:pt x="319" y="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3" name="Freeform 50"/>
            <p:cNvSpPr>
              <a:spLocks/>
            </p:cNvSpPr>
            <p:nvPr userDrawn="1"/>
          </p:nvSpPr>
          <p:spPr bwMode="auto">
            <a:xfrm>
              <a:off x="5299" y="4054"/>
              <a:ext cx="34" cy="57"/>
            </a:xfrm>
            <a:custGeom>
              <a:avLst/>
              <a:gdLst>
                <a:gd name="T0" fmla="*/ 18 w 34"/>
                <a:gd name="T1" fmla="*/ 57 h 57"/>
                <a:gd name="T2" fmla="*/ 18 w 34"/>
                <a:gd name="T3" fmla="*/ 57 h 57"/>
                <a:gd name="T4" fmla="*/ 8 w 34"/>
                <a:gd name="T5" fmla="*/ 56 h 57"/>
                <a:gd name="T6" fmla="*/ 0 w 34"/>
                <a:gd name="T7" fmla="*/ 55 h 57"/>
                <a:gd name="T8" fmla="*/ 16 w 34"/>
                <a:gd name="T9" fmla="*/ 0 h 57"/>
                <a:gd name="T10" fmla="*/ 18 w 34"/>
                <a:gd name="T11" fmla="*/ 0 h 57"/>
                <a:gd name="T12" fmla="*/ 34 w 34"/>
                <a:gd name="T13" fmla="*/ 55 h 57"/>
                <a:gd name="T14" fmla="*/ 34 w 34"/>
                <a:gd name="T15" fmla="*/ 55 h 57"/>
                <a:gd name="T16" fmla="*/ 26 w 34"/>
                <a:gd name="T17" fmla="*/ 56 h 57"/>
                <a:gd name="T18" fmla="*/ 18 w 34"/>
                <a:gd name="T19" fmla="*/ 57 h 57"/>
                <a:gd name="T20" fmla="*/ 18 w 34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" h="57">
                  <a:moveTo>
                    <a:pt x="18" y="57"/>
                  </a:moveTo>
                  <a:lnTo>
                    <a:pt x="18" y="57"/>
                  </a:lnTo>
                  <a:lnTo>
                    <a:pt x="8" y="56"/>
                  </a:lnTo>
                  <a:lnTo>
                    <a:pt x="0" y="55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34" y="55"/>
                  </a:lnTo>
                  <a:lnTo>
                    <a:pt x="26" y="56"/>
                  </a:lnTo>
                  <a:lnTo>
                    <a:pt x="18" y="57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4" name="Freeform 51"/>
            <p:cNvSpPr>
              <a:spLocks/>
            </p:cNvSpPr>
            <p:nvPr userDrawn="1"/>
          </p:nvSpPr>
          <p:spPr bwMode="auto">
            <a:xfrm>
              <a:off x="5431" y="4036"/>
              <a:ext cx="42" cy="44"/>
            </a:xfrm>
            <a:custGeom>
              <a:avLst/>
              <a:gdLst>
                <a:gd name="T0" fmla="*/ 13 w 42"/>
                <a:gd name="T1" fmla="*/ 44 h 44"/>
                <a:gd name="T2" fmla="*/ 0 w 42"/>
                <a:gd name="T3" fmla="*/ 44 h 44"/>
                <a:gd name="T4" fmla="*/ 0 w 42"/>
                <a:gd name="T5" fmla="*/ 0 h 44"/>
                <a:gd name="T6" fmla="*/ 13 w 42"/>
                <a:gd name="T7" fmla="*/ 0 h 44"/>
                <a:gd name="T8" fmla="*/ 13 w 42"/>
                <a:gd name="T9" fmla="*/ 0 h 44"/>
                <a:gd name="T10" fmla="*/ 24 w 42"/>
                <a:gd name="T11" fmla="*/ 1 h 44"/>
                <a:gd name="T12" fmla="*/ 29 w 42"/>
                <a:gd name="T13" fmla="*/ 3 h 44"/>
                <a:gd name="T14" fmla="*/ 33 w 42"/>
                <a:gd name="T15" fmla="*/ 6 h 44"/>
                <a:gd name="T16" fmla="*/ 36 w 42"/>
                <a:gd name="T17" fmla="*/ 8 h 44"/>
                <a:gd name="T18" fmla="*/ 39 w 42"/>
                <a:gd name="T19" fmla="*/ 12 h 44"/>
                <a:gd name="T20" fmla="*/ 42 w 42"/>
                <a:gd name="T21" fmla="*/ 17 h 44"/>
                <a:gd name="T22" fmla="*/ 42 w 42"/>
                <a:gd name="T23" fmla="*/ 22 h 44"/>
                <a:gd name="T24" fmla="*/ 42 w 42"/>
                <a:gd name="T25" fmla="*/ 22 h 44"/>
                <a:gd name="T26" fmla="*/ 42 w 42"/>
                <a:gd name="T27" fmla="*/ 27 h 44"/>
                <a:gd name="T28" fmla="*/ 39 w 42"/>
                <a:gd name="T29" fmla="*/ 33 h 44"/>
                <a:gd name="T30" fmla="*/ 36 w 42"/>
                <a:gd name="T31" fmla="*/ 37 h 44"/>
                <a:gd name="T32" fmla="*/ 33 w 42"/>
                <a:gd name="T33" fmla="*/ 40 h 44"/>
                <a:gd name="T34" fmla="*/ 29 w 42"/>
                <a:gd name="T35" fmla="*/ 41 h 44"/>
                <a:gd name="T36" fmla="*/ 24 w 42"/>
                <a:gd name="T37" fmla="*/ 42 h 44"/>
                <a:gd name="T38" fmla="*/ 13 w 42"/>
                <a:gd name="T39" fmla="*/ 44 h 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2" h="44">
                  <a:moveTo>
                    <a:pt x="13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13" y="0"/>
                  </a:lnTo>
                  <a:lnTo>
                    <a:pt x="24" y="1"/>
                  </a:lnTo>
                  <a:lnTo>
                    <a:pt x="29" y="3"/>
                  </a:lnTo>
                  <a:lnTo>
                    <a:pt x="33" y="6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42" y="27"/>
                  </a:lnTo>
                  <a:lnTo>
                    <a:pt x="39" y="33"/>
                  </a:lnTo>
                  <a:lnTo>
                    <a:pt x="36" y="37"/>
                  </a:lnTo>
                  <a:lnTo>
                    <a:pt x="33" y="40"/>
                  </a:lnTo>
                  <a:lnTo>
                    <a:pt x="29" y="41"/>
                  </a:lnTo>
                  <a:lnTo>
                    <a:pt x="24" y="42"/>
                  </a:lnTo>
                  <a:lnTo>
                    <a:pt x="13" y="44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5" name="Freeform 52"/>
            <p:cNvSpPr>
              <a:spLocks noEditPoints="1"/>
            </p:cNvSpPr>
            <p:nvPr userDrawn="1"/>
          </p:nvSpPr>
          <p:spPr bwMode="auto">
            <a:xfrm>
              <a:off x="5456" y="4186"/>
              <a:ext cx="36" cy="36"/>
            </a:xfrm>
            <a:custGeom>
              <a:avLst/>
              <a:gdLst>
                <a:gd name="T0" fmla="*/ 3 w 36"/>
                <a:gd name="T1" fmla="*/ 18 h 36"/>
                <a:gd name="T2" fmla="*/ 7 w 36"/>
                <a:gd name="T3" fmla="*/ 7 h 36"/>
                <a:gd name="T4" fmla="*/ 18 w 36"/>
                <a:gd name="T5" fmla="*/ 3 h 36"/>
                <a:gd name="T6" fmla="*/ 23 w 36"/>
                <a:gd name="T7" fmla="*/ 5 h 36"/>
                <a:gd name="T8" fmla="*/ 30 w 36"/>
                <a:gd name="T9" fmla="*/ 11 h 36"/>
                <a:gd name="T10" fmla="*/ 32 w 36"/>
                <a:gd name="T11" fmla="*/ 18 h 36"/>
                <a:gd name="T12" fmla="*/ 27 w 36"/>
                <a:gd name="T13" fmla="*/ 28 h 36"/>
                <a:gd name="T14" fmla="*/ 18 w 36"/>
                <a:gd name="T15" fmla="*/ 32 h 36"/>
                <a:gd name="T16" fmla="*/ 12 w 36"/>
                <a:gd name="T17" fmla="*/ 32 h 36"/>
                <a:gd name="T18" fmla="*/ 4 w 36"/>
                <a:gd name="T19" fmla="*/ 24 h 36"/>
                <a:gd name="T20" fmla="*/ 3 w 36"/>
                <a:gd name="T21" fmla="*/ 18 h 36"/>
                <a:gd name="T22" fmla="*/ 18 w 36"/>
                <a:gd name="T23" fmla="*/ 36 h 36"/>
                <a:gd name="T24" fmla="*/ 30 w 36"/>
                <a:gd name="T25" fmla="*/ 31 h 36"/>
                <a:gd name="T26" fmla="*/ 36 w 36"/>
                <a:gd name="T27" fmla="*/ 18 h 36"/>
                <a:gd name="T28" fmla="*/ 34 w 36"/>
                <a:gd name="T29" fmla="*/ 11 h 36"/>
                <a:gd name="T30" fmla="*/ 25 w 36"/>
                <a:gd name="T31" fmla="*/ 2 h 36"/>
                <a:gd name="T32" fmla="*/ 18 w 36"/>
                <a:gd name="T33" fmla="*/ 0 h 36"/>
                <a:gd name="T34" fmla="*/ 6 w 36"/>
                <a:gd name="T35" fmla="*/ 5 h 36"/>
                <a:gd name="T36" fmla="*/ 0 w 36"/>
                <a:gd name="T37" fmla="*/ 18 h 36"/>
                <a:gd name="T38" fmla="*/ 1 w 36"/>
                <a:gd name="T39" fmla="*/ 25 h 36"/>
                <a:gd name="T40" fmla="*/ 11 w 36"/>
                <a:gd name="T41" fmla="*/ 35 h 36"/>
                <a:gd name="T42" fmla="*/ 18 w 36"/>
                <a:gd name="T43" fmla="*/ 36 h 36"/>
                <a:gd name="T44" fmla="*/ 18 w 36"/>
                <a:gd name="T45" fmla="*/ 20 h 36"/>
                <a:gd name="T46" fmla="*/ 26 w 36"/>
                <a:gd name="T47" fmla="*/ 28 h 36"/>
                <a:gd name="T48" fmla="*/ 21 w 36"/>
                <a:gd name="T49" fmla="*/ 20 h 36"/>
                <a:gd name="T50" fmla="*/ 25 w 36"/>
                <a:gd name="T51" fmla="*/ 15 h 36"/>
                <a:gd name="T52" fmla="*/ 26 w 36"/>
                <a:gd name="T53" fmla="*/ 14 h 36"/>
                <a:gd name="T54" fmla="*/ 23 w 36"/>
                <a:gd name="T55" fmla="*/ 9 h 36"/>
                <a:gd name="T56" fmla="*/ 18 w 36"/>
                <a:gd name="T57" fmla="*/ 7 h 36"/>
                <a:gd name="T58" fmla="*/ 11 w 36"/>
                <a:gd name="T59" fmla="*/ 28 h 36"/>
                <a:gd name="T60" fmla="*/ 14 w 36"/>
                <a:gd name="T61" fmla="*/ 20 h 36"/>
                <a:gd name="T62" fmla="*/ 14 w 36"/>
                <a:gd name="T63" fmla="*/ 10 h 36"/>
                <a:gd name="T64" fmla="*/ 18 w 36"/>
                <a:gd name="T65" fmla="*/ 10 h 36"/>
                <a:gd name="T66" fmla="*/ 22 w 36"/>
                <a:gd name="T67" fmla="*/ 11 h 36"/>
                <a:gd name="T68" fmla="*/ 22 w 36"/>
                <a:gd name="T69" fmla="*/ 13 h 36"/>
                <a:gd name="T70" fmla="*/ 21 w 36"/>
                <a:gd name="T71" fmla="*/ 15 h 36"/>
                <a:gd name="T72" fmla="*/ 14 w 36"/>
                <a:gd name="T73" fmla="*/ 17 h 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36" h="36">
                  <a:moveTo>
                    <a:pt x="3" y="18"/>
                  </a:moveTo>
                  <a:lnTo>
                    <a:pt x="3" y="18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5"/>
                  </a:lnTo>
                  <a:lnTo>
                    <a:pt x="18" y="3"/>
                  </a:lnTo>
                  <a:lnTo>
                    <a:pt x="23" y="5"/>
                  </a:lnTo>
                  <a:lnTo>
                    <a:pt x="27" y="7"/>
                  </a:lnTo>
                  <a:lnTo>
                    <a:pt x="30" y="11"/>
                  </a:lnTo>
                  <a:lnTo>
                    <a:pt x="32" y="18"/>
                  </a:lnTo>
                  <a:lnTo>
                    <a:pt x="30" y="24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18" y="32"/>
                  </a:lnTo>
                  <a:lnTo>
                    <a:pt x="12" y="32"/>
                  </a:lnTo>
                  <a:lnTo>
                    <a:pt x="7" y="28"/>
                  </a:lnTo>
                  <a:lnTo>
                    <a:pt x="4" y="24"/>
                  </a:lnTo>
                  <a:lnTo>
                    <a:pt x="3" y="18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25" y="35"/>
                  </a:lnTo>
                  <a:lnTo>
                    <a:pt x="30" y="31"/>
                  </a:lnTo>
                  <a:lnTo>
                    <a:pt x="34" y="25"/>
                  </a:lnTo>
                  <a:lnTo>
                    <a:pt x="36" y="18"/>
                  </a:lnTo>
                  <a:lnTo>
                    <a:pt x="34" y="11"/>
                  </a:lnTo>
                  <a:lnTo>
                    <a:pt x="30" y="5"/>
                  </a:lnTo>
                  <a:lnTo>
                    <a:pt x="25" y="2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1" y="25"/>
                  </a:lnTo>
                  <a:lnTo>
                    <a:pt x="6" y="31"/>
                  </a:lnTo>
                  <a:lnTo>
                    <a:pt x="11" y="35"/>
                  </a:lnTo>
                  <a:lnTo>
                    <a:pt x="18" y="36"/>
                  </a:lnTo>
                  <a:close/>
                  <a:moveTo>
                    <a:pt x="14" y="20"/>
                  </a:moveTo>
                  <a:lnTo>
                    <a:pt x="18" y="20"/>
                  </a:lnTo>
                  <a:lnTo>
                    <a:pt x="23" y="28"/>
                  </a:lnTo>
                  <a:lnTo>
                    <a:pt x="26" y="28"/>
                  </a:lnTo>
                  <a:lnTo>
                    <a:pt x="21" y="20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6" y="14"/>
                  </a:lnTo>
                  <a:lnTo>
                    <a:pt x="25" y="11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18" y="7"/>
                  </a:lnTo>
                  <a:lnTo>
                    <a:pt x="11" y="7"/>
                  </a:lnTo>
                  <a:lnTo>
                    <a:pt x="11" y="28"/>
                  </a:lnTo>
                  <a:lnTo>
                    <a:pt x="14" y="28"/>
                  </a:lnTo>
                  <a:lnTo>
                    <a:pt x="14" y="20"/>
                  </a:lnTo>
                  <a:close/>
                  <a:moveTo>
                    <a:pt x="14" y="17"/>
                  </a:moveTo>
                  <a:lnTo>
                    <a:pt x="14" y="10"/>
                  </a:lnTo>
                  <a:lnTo>
                    <a:pt x="18" y="10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18" y="17"/>
                  </a:lnTo>
                  <a:lnTo>
                    <a:pt x="14" y="17"/>
                  </a:lnTo>
                  <a:close/>
                </a:path>
              </a:pathLst>
            </a:custGeom>
            <a:solidFill>
              <a:srgbClr val="04357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6" name="Rectangle 53"/>
            <p:cNvSpPr>
              <a:spLocks noChangeArrowheads="1"/>
            </p:cNvSpPr>
            <p:nvPr userDrawn="1"/>
          </p:nvSpPr>
          <p:spPr bwMode="auto">
            <a:xfrm>
              <a:off x="3517" y="4132"/>
              <a:ext cx="31" cy="13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buClr>
                  <a:schemeClr val="accent1"/>
                </a:buClr>
                <a:buSzPct val="80000"/>
                <a:buFont typeface="Wingdings" pitchFamily="2" charset="2"/>
                <a:buNone/>
                <a:defRPr/>
              </a:pPr>
              <a:endParaRPr lang="en-US">
                <a:latin typeface="Arial" pitchFamily="34" charset="0"/>
                <a:ea typeface="Arial Unicode MS" pitchFamily="34" charset="-128"/>
              </a:endParaRPr>
            </a:p>
          </p:txBody>
        </p:sp>
        <p:sp>
          <p:nvSpPr>
            <p:cNvPr id="17" name="Freeform 54"/>
            <p:cNvSpPr>
              <a:spLocks/>
            </p:cNvSpPr>
            <p:nvPr userDrawn="1"/>
          </p:nvSpPr>
          <p:spPr bwMode="auto">
            <a:xfrm>
              <a:off x="3016" y="4107"/>
              <a:ext cx="51" cy="62"/>
            </a:xfrm>
            <a:custGeom>
              <a:avLst/>
              <a:gdLst>
                <a:gd name="T0" fmla="*/ 0 w 51"/>
                <a:gd name="T1" fmla="*/ 0 h 62"/>
                <a:gd name="T2" fmla="*/ 51 w 51"/>
                <a:gd name="T3" fmla="*/ 0 h 62"/>
                <a:gd name="T4" fmla="*/ 51 w 51"/>
                <a:gd name="T5" fmla="*/ 15 h 62"/>
                <a:gd name="T6" fmla="*/ 37 w 51"/>
                <a:gd name="T7" fmla="*/ 15 h 62"/>
                <a:gd name="T8" fmla="*/ 37 w 51"/>
                <a:gd name="T9" fmla="*/ 62 h 62"/>
                <a:gd name="T10" fmla="*/ 14 w 51"/>
                <a:gd name="T11" fmla="*/ 62 h 62"/>
                <a:gd name="T12" fmla="*/ 14 w 51"/>
                <a:gd name="T13" fmla="*/ 15 h 62"/>
                <a:gd name="T14" fmla="*/ 0 w 51"/>
                <a:gd name="T15" fmla="*/ 15 h 62"/>
                <a:gd name="T16" fmla="*/ 0 w 51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1" h="62">
                  <a:moveTo>
                    <a:pt x="0" y="0"/>
                  </a:moveTo>
                  <a:lnTo>
                    <a:pt x="51" y="0"/>
                  </a:lnTo>
                  <a:lnTo>
                    <a:pt x="51" y="15"/>
                  </a:lnTo>
                  <a:lnTo>
                    <a:pt x="37" y="15"/>
                  </a:lnTo>
                  <a:lnTo>
                    <a:pt x="37" y="62"/>
                  </a:lnTo>
                  <a:lnTo>
                    <a:pt x="14" y="62"/>
                  </a:lnTo>
                  <a:lnTo>
                    <a:pt x="14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8" name="Freeform 55"/>
            <p:cNvSpPr>
              <a:spLocks/>
            </p:cNvSpPr>
            <p:nvPr userDrawn="1"/>
          </p:nvSpPr>
          <p:spPr bwMode="auto">
            <a:xfrm>
              <a:off x="3080" y="4107"/>
              <a:ext cx="55" cy="62"/>
            </a:xfrm>
            <a:custGeom>
              <a:avLst/>
              <a:gdLst>
                <a:gd name="T0" fmla="*/ 0 w 55"/>
                <a:gd name="T1" fmla="*/ 0 h 62"/>
                <a:gd name="T2" fmla="*/ 24 w 55"/>
                <a:gd name="T3" fmla="*/ 0 h 62"/>
                <a:gd name="T4" fmla="*/ 24 w 55"/>
                <a:gd name="T5" fmla="*/ 21 h 62"/>
                <a:gd name="T6" fmla="*/ 32 w 55"/>
                <a:gd name="T7" fmla="*/ 21 h 62"/>
                <a:gd name="T8" fmla="*/ 32 w 55"/>
                <a:gd name="T9" fmla="*/ 0 h 62"/>
                <a:gd name="T10" fmla="*/ 55 w 55"/>
                <a:gd name="T11" fmla="*/ 0 h 62"/>
                <a:gd name="T12" fmla="*/ 55 w 55"/>
                <a:gd name="T13" fmla="*/ 62 h 62"/>
                <a:gd name="T14" fmla="*/ 32 w 55"/>
                <a:gd name="T15" fmla="*/ 62 h 62"/>
                <a:gd name="T16" fmla="*/ 32 w 55"/>
                <a:gd name="T17" fmla="*/ 38 h 62"/>
                <a:gd name="T18" fmla="*/ 24 w 55"/>
                <a:gd name="T19" fmla="*/ 38 h 62"/>
                <a:gd name="T20" fmla="*/ 24 w 55"/>
                <a:gd name="T21" fmla="*/ 62 h 62"/>
                <a:gd name="T22" fmla="*/ 0 w 55"/>
                <a:gd name="T23" fmla="*/ 62 h 62"/>
                <a:gd name="T24" fmla="*/ 0 w 55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" h="62">
                  <a:moveTo>
                    <a:pt x="0" y="0"/>
                  </a:moveTo>
                  <a:lnTo>
                    <a:pt x="24" y="0"/>
                  </a:lnTo>
                  <a:lnTo>
                    <a:pt x="24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55" y="0"/>
                  </a:lnTo>
                  <a:lnTo>
                    <a:pt x="55" y="62"/>
                  </a:lnTo>
                  <a:lnTo>
                    <a:pt x="32" y="62"/>
                  </a:lnTo>
                  <a:lnTo>
                    <a:pt x="32" y="38"/>
                  </a:lnTo>
                  <a:lnTo>
                    <a:pt x="24" y="38"/>
                  </a:lnTo>
                  <a:lnTo>
                    <a:pt x="24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19" name="Freeform 56"/>
            <p:cNvSpPr>
              <a:spLocks/>
            </p:cNvSpPr>
            <p:nvPr userDrawn="1"/>
          </p:nvSpPr>
          <p:spPr bwMode="auto">
            <a:xfrm>
              <a:off x="3154" y="4107"/>
              <a:ext cx="47" cy="62"/>
            </a:xfrm>
            <a:custGeom>
              <a:avLst/>
              <a:gdLst>
                <a:gd name="T0" fmla="*/ 0 w 47"/>
                <a:gd name="T1" fmla="*/ 0 h 62"/>
                <a:gd name="T2" fmla="*/ 47 w 47"/>
                <a:gd name="T3" fmla="*/ 0 h 62"/>
                <a:gd name="T4" fmla="*/ 47 w 47"/>
                <a:gd name="T5" fmla="*/ 15 h 62"/>
                <a:gd name="T6" fmla="*/ 22 w 47"/>
                <a:gd name="T7" fmla="*/ 15 h 62"/>
                <a:gd name="T8" fmla="*/ 22 w 47"/>
                <a:gd name="T9" fmla="*/ 25 h 62"/>
                <a:gd name="T10" fmla="*/ 45 w 47"/>
                <a:gd name="T11" fmla="*/ 25 h 62"/>
                <a:gd name="T12" fmla="*/ 45 w 47"/>
                <a:gd name="T13" fmla="*/ 37 h 62"/>
                <a:gd name="T14" fmla="*/ 22 w 47"/>
                <a:gd name="T15" fmla="*/ 37 h 62"/>
                <a:gd name="T16" fmla="*/ 22 w 47"/>
                <a:gd name="T17" fmla="*/ 48 h 62"/>
                <a:gd name="T18" fmla="*/ 47 w 47"/>
                <a:gd name="T19" fmla="*/ 48 h 62"/>
                <a:gd name="T20" fmla="*/ 47 w 47"/>
                <a:gd name="T21" fmla="*/ 62 h 62"/>
                <a:gd name="T22" fmla="*/ 0 w 47"/>
                <a:gd name="T23" fmla="*/ 62 h 62"/>
                <a:gd name="T24" fmla="*/ 0 w 47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" h="62">
                  <a:moveTo>
                    <a:pt x="0" y="0"/>
                  </a:moveTo>
                  <a:lnTo>
                    <a:pt x="47" y="0"/>
                  </a:lnTo>
                  <a:lnTo>
                    <a:pt x="47" y="15"/>
                  </a:lnTo>
                  <a:lnTo>
                    <a:pt x="22" y="15"/>
                  </a:lnTo>
                  <a:lnTo>
                    <a:pt x="22" y="25"/>
                  </a:lnTo>
                  <a:lnTo>
                    <a:pt x="45" y="25"/>
                  </a:lnTo>
                  <a:lnTo>
                    <a:pt x="45" y="37"/>
                  </a:lnTo>
                  <a:lnTo>
                    <a:pt x="22" y="37"/>
                  </a:lnTo>
                  <a:lnTo>
                    <a:pt x="22" y="48"/>
                  </a:lnTo>
                  <a:lnTo>
                    <a:pt x="47" y="48"/>
                  </a:lnTo>
                  <a:lnTo>
                    <a:pt x="47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0" name="Freeform 57"/>
            <p:cNvSpPr>
              <a:spLocks noEditPoints="1"/>
            </p:cNvSpPr>
            <p:nvPr userDrawn="1"/>
          </p:nvSpPr>
          <p:spPr bwMode="auto">
            <a:xfrm>
              <a:off x="3259" y="4107"/>
              <a:ext cx="57" cy="62"/>
            </a:xfrm>
            <a:custGeom>
              <a:avLst/>
              <a:gdLst>
                <a:gd name="T0" fmla="*/ 24 w 57"/>
                <a:gd name="T1" fmla="*/ 37 h 62"/>
                <a:gd name="T2" fmla="*/ 29 w 57"/>
                <a:gd name="T3" fmla="*/ 37 h 62"/>
                <a:gd name="T4" fmla="*/ 29 w 57"/>
                <a:gd name="T5" fmla="*/ 37 h 62"/>
                <a:gd name="T6" fmla="*/ 32 w 57"/>
                <a:gd name="T7" fmla="*/ 38 h 62"/>
                <a:gd name="T8" fmla="*/ 33 w 57"/>
                <a:gd name="T9" fmla="*/ 40 h 62"/>
                <a:gd name="T10" fmla="*/ 33 w 57"/>
                <a:gd name="T11" fmla="*/ 43 h 62"/>
                <a:gd name="T12" fmla="*/ 33 w 57"/>
                <a:gd name="T13" fmla="*/ 43 h 62"/>
                <a:gd name="T14" fmla="*/ 32 w 57"/>
                <a:gd name="T15" fmla="*/ 47 h 62"/>
                <a:gd name="T16" fmla="*/ 31 w 57"/>
                <a:gd name="T17" fmla="*/ 49 h 62"/>
                <a:gd name="T18" fmla="*/ 28 w 57"/>
                <a:gd name="T19" fmla="*/ 49 h 62"/>
                <a:gd name="T20" fmla="*/ 24 w 57"/>
                <a:gd name="T21" fmla="*/ 49 h 62"/>
                <a:gd name="T22" fmla="*/ 24 w 57"/>
                <a:gd name="T23" fmla="*/ 37 h 62"/>
                <a:gd name="T24" fmla="*/ 0 w 57"/>
                <a:gd name="T25" fmla="*/ 62 h 62"/>
                <a:gd name="T26" fmla="*/ 37 w 57"/>
                <a:gd name="T27" fmla="*/ 62 h 62"/>
                <a:gd name="T28" fmla="*/ 37 w 57"/>
                <a:gd name="T29" fmla="*/ 62 h 62"/>
                <a:gd name="T30" fmla="*/ 43 w 57"/>
                <a:gd name="T31" fmla="*/ 62 h 62"/>
                <a:gd name="T32" fmla="*/ 47 w 57"/>
                <a:gd name="T33" fmla="*/ 60 h 62"/>
                <a:gd name="T34" fmla="*/ 50 w 57"/>
                <a:gd name="T35" fmla="*/ 59 h 62"/>
                <a:gd name="T36" fmla="*/ 52 w 57"/>
                <a:gd name="T37" fmla="*/ 58 h 62"/>
                <a:gd name="T38" fmla="*/ 57 w 57"/>
                <a:gd name="T39" fmla="*/ 52 h 62"/>
                <a:gd name="T40" fmla="*/ 57 w 57"/>
                <a:gd name="T41" fmla="*/ 47 h 62"/>
                <a:gd name="T42" fmla="*/ 57 w 57"/>
                <a:gd name="T43" fmla="*/ 47 h 62"/>
                <a:gd name="T44" fmla="*/ 55 w 57"/>
                <a:gd name="T45" fmla="*/ 40 h 62"/>
                <a:gd name="T46" fmla="*/ 52 w 57"/>
                <a:gd name="T47" fmla="*/ 36 h 62"/>
                <a:gd name="T48" fmla="*/ 47 w 57"/>
                <a:gd name="T49" fmla="*/ 32 h 62"/>
                <a:gd name="T50" fmla="*/ 41 w 57"/>
                <a:gd name="T51" fmla="*/ 30 h 62"/>
                <a:gd name="T52" fmla="*/ 41 w 57"/>
                <a:gd name="T53" fmla="*/ 30 h 62"/>
                <a:gd name="T54" fmla="*/ 41 w 57"/>
                <a:gd name="T55" fmla="*/ 30 h 62"/>
                <a:gd name="T56" fmla="*/ 47 w 57"/>
                <a:gd name="T57" fmla="*/ 29 h 62"/>
                <a:gd name="T58" fmla="*/ 51 w 57"/>
                <a:gd name="T59" fmla="*/ 26 h 62"/>
                <a:gd name="T60" fmla="*/ 55 w 57"/>
                <a:gd name="T61" fmla="*/ 22 h 62"/>
                <a:gd name="T62" fmla="*/ 55 w 57"/>
                <a:gd name="T63" fmla="*/ 15 h 62"/>
                <a:gd name="T64" fmla="*/ 55 w 57"/>
                <a:gd name="T65" fmla="*/ 15 h 62"/>
                <a:gd name="T66" fmla="*/ 55 w 57"/>
                <a:gd name="T67" fmla="*/ 10 h 62"/>
                <a:gd name="T68" fmla="*/ 54 w 57"/>
                <a:gd name="T69" fmla="*/ 7 h 62"/>
                <a:gd name="T70" fmla="*/ 51 w 57"/>
                <a:gd name="T71" fmla="*/ 4 h 62"/>
                <a:gd name="T72" fmla="*/ 44 w 57"/>
                <a:gd name="T73" fmla="*/ 2 h 62"/>
                <a:gd name="T74" fmla="*/ 33 w 57"/>
                <a:gd name="T75" fmla="*/ 0 h 62"/>
                <a:gd name="T76" fmla="*/ 0 w 57"/>
                <a:gd name="T77" fmla="*/ 0 h 62"/>
                <a:gd name="T78" fmla="*/ 0 w 57"/>
                <a:gd name="T79" fmla="*/ 62 h 62"/>
                <a:gd name="T80" fmla="*/ 24 w 57"/>
                <a:gd name="T81" fmla="*/ 14 h 62"/>
                <a:gd name="T82" fmla="*/ 28 w 57"/>
                <a:gd name="T83" fmla="*/ 14 h 62"/>
                <a:gd name="T84" fmla="*/ 28 w 57"/>
                <a:gd name="T85" fmla="*/ 14 h 62"/>
                <a:gd name="T86" fmla="*/ 31 w 57"/>
                <a:gd name="T87" fmla="*/ 14 h 62"/>
                <a:gd name="T88" fmla="*/ 32 w 57"/>
                <a:gd name="T89" fmla="*/ 15 h 62"/>
                <a:gd name="T90" fmla="*/ 33 w 57"/>
                <a:gd name="T91" fmla="*/ 19 h 62"/>
                <a:gd name="T92" fmla="*/ 33 w 57"/>
                <a:gd name="T93" fmla="*/ 19 h 62"/>
                <a:gd name="T94" fmla="*/ 32 w 57"/>
                <a:gd name="T95" fmla="*/ 23 h 62"/>
                <a:gd name="T96" fmla="*/ 31 w 57"/>
                <a:gd name="T97" fmla="*/ 25 h 62"/>
                <a:gd name="T98" fmla="*/ 28 w 57"/>
                <a:gd name="T99" fmla="*/ 25 h 62"/>
                <a:gd name="T100" fmla="*/ 24 w 57"/>
                <a:gd name="T101" fmla="*/ 25 h 62"/>
                <a:gd name="T102" fmla="*/ 24 w 57"/>
                <a:gd name="T103" fmla="*/ 14 h 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7" h="62">
                  <a:moveTo>
                    <a:pt x="24" y="37"/>
                  </a:moveTo>
                  <a:lnTo>
                    <a:pt x="29" y="37"/>
                  </a:lnTo>
                  <a:lnTo>
                    <a:pt x="32" y="38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2" y="47"/>
                  </a:lnTo>
                  <a:lnTo>
                    <a:pt x="31" y="49"/>
                  </a:lnTo>
                  <a:lnTo>
                    <a:pt x="28" y="49"/>
                  </a:lnTo>
                  <a:lnTo>
                    <a:pt x="24" y="49"/>
                  </a:lnTo>
                  <a:lnTo>
                    <a:pt x="24" y="37"/>
                  </a:lnTo>
                  <a:close/>
                  <a:moveTo>
                    <a:pt x="0" y="62"/>
                  </a:moveTo>
                  <a:lnTo>
                    <a:pt x="37" y="62"/>
                  </a:lnTo>
                  <a:lnTo>
                    <a:pt x="43" y="62"/>
                  </a:lnTo>
                  <a:lnTo>
                    <a:pt x="47" y="60"/>
                  </a:lnTo>
                  <a:lnTo>
                    <a:pt x="50" y="59"/>
                  </a:lnTo>
                  <a:lnTo>
                    <a:pt x="52" y="58"/>
                  </a:lnTo>
                  <a:lnTo>
                    <a:pt x="57" y="52"/>
                  </a:lnTo>
                  <a:lnTo>
                    <a:pt x="57" y="47"/>
                  </a:lnTo>
                  <a:lnTo>
                    <a:pt x="55" y="40"/>
                  </a:lnTo>
                  <a:lnTo>
                    <a:pt x="52" y="36"/>
                  </a:lnTo>
                  <a:lnTo>
                    <a:pt x="47" y="32"/>
                  </a:lnTo>
                  <a:lnTo>
                    <a:pt x="41" y="30"/>
                  </a:lnTo>
                  <a:lnTo>
                    <a:pt x="47" y="29"/>
                  </a:lnTo>
                  <a:lnTo>
                    <a:pt x="51" y="26"/>
                  </a:lnTo>
                  <a:lnTo>
                    <a:pt x="55" y="22"/>
                  </a:lnTo>
                  <a:lnTo>
                    <a:pt x="55" y="15"/>
                  </a:lnTo>
                  <a:lnTo>
                    <a:pt x="55" y="10"/>
                  </a:lnTo>
                  <a:lnTo>
                    <a:pt x="54" y="7"/>
                  </a:lnTo>
                  <a:lnTo>
                    <a:pt x="51" y="4"/>
                  </a:lnTo>
                  <a:lnTo>
                    <a:pt x="44" y="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0" y="62"/>
                  </a:lnTo>
                  <a:close/>
                  <a:moveTo>
                    <a:pt x="24" y="14"/>
                  </a:moveTo>
                  <a:lnTo>
                    <a:pt x="28" y="14"/>
                  </a:lnTo>
                  <a:lnTo>
                    <a:pt x="31" y="14"/>
                  </a:lnTo>
                  <a:lnTo>
                    <a:pt x="32" y="15"/>
                  </a:lnTo>
                  <a:lnTo>
                    <a:pt x="33" y="19"/>
                  </a:lnTo>
                  <a:lnTo>
                    <a:pt x="32" y="23"/>
                  </a:lnTo>
                  <a:lnTo>
                    <a:pt x="31" y="25"/>
                  </a:lnTo>
                  <a:lnTo>
                    <a:pt x="28" y="25"/>
                  </a:lnTo>
                  <a:lnTo>
                    <a:pt x="24" y="25"/>
                  </a:lnTo>
                  <a:lnTo>
                    <a:pt x="24" y="14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1" name="Freeform 58"/>
            <p:cNvSpPr>
              <a:spLocks/>
            </p:cNvSpPr>
            <p:nvPr userDrawn="1"/>
          </p:nvSpPr>
          <p:spPr bwMode="auto">
            <a:xfrm>
              <a:off x="3332" y="4107"/>
              <a:ext cx="46" cy="62"/>
            </a:xfrm>
            <a:custGeom>
              <a:avLst/>
              <a:gdLst>
                <a:gd name="T0" fmla="*/ 0 w 46"/>
                <a:gd name="T1" fmla="*/ 0 h 62"/>
                <a:gd name="T2" fmla="*/ 46 w 46"/>
                <a:gd name="T3" fmla="*/ 0 h 62"/>
                <a:gd name="T4" fmla="*/ 46 w 46"/>
                <a:gd name="T5" fmla="*/ 15 h 62"/>
                <a:gd name="T6" fmla="*/ 23 w 46"/>
                <a:gd name="T7" fmla="*/ 15 h 62"/>
                <a:gd name="T8" fmla="*/ 23 w 46"/>
                <a:gd name="T9" fmla="*/ 25 h 62"/>
                <a:gd name="T10" fmla="*/ 45 w 46"/>
                <a:gd name="T11" fmla="*/ 25 h 62"/>
                <a:gd name="T12" fmla="*/ 45 w 46"/>
                <a:gd name="T13" fmla="*/ 37 h 62"/>
                <a:gd name="T14" fmla="*/ 23 w 46"/>
                <a:gd name="T15" fmla="*/ 37 h 62"/>
                <a:gd name="T16" fmla="*/ 23 w 46"/>
                <a:gd name="T17" fmla="*/ 48 h 62"/>
                <a:gd name="T18" fmla="*/ 46 w 46"/>
                <a:gd name="T19" fmla="*/ 48 h 62"/>
                <a:gd name="T20" fmla="*/ 46 w 46"/>
                <a:gd name="T21" fmla="*/ 62 h 62"/>
                <a:gd name="T22" fmla="*/ 0 w 46"/>
                <a:gd name="T23" fmla="*/ 62 h 62"/>
                <a:gd name="T24" fmla="*/ 0 w 46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6" h="62">
                  <a:moveTo>
                    <a:pt x="0" y="0"/>
                  </a:moveTo>
                  <a:lnTo>
                    <a:pt x="46" y="0"/>
                  </a:lnTo>
                  <a:lnTo>
                    <a:pt x="46" y="15"/>
                  </a:lnTo>
                  <a:lnTo>
                    <a:pt x="23" y="15"/>
                  </a:lnTo>
                  <a:lnTo>
                    <a:pt x="23" y="25"/>
                  </a:lnTo>
                  <a:lnTo>
                    <a:pt x="45" y="25"/>
                  </a:lnTo>
                  <a:lnTo>
                    <a:pt x="45" y="37"/>
                  </a:lnTo>
                  <a:lnTo>
                    <a:pt x="23" y="37"/>
                  </a:lnTo>
                  <a:lnTo>
                    <a:pt x="23" y="48"/>
                  </a:lnTo>
                  <a:lnTo>
                    <a:pt x="46" y="48"/>
                  </a:lnTo>
                  <a:lnTo>
                    <a:pt x="46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2" name="Freeform 59"/>
            <p:cNvSpPr>
              <a:spLocks/>
            </p:cNvSpPr>
            <p:nvPr userDrawn="1"/>
          </p:nvSpPr>
          <p:spPr bwMode="auto">
            <a:xfrm>
              <a:off x="3391" y="4106"/>
              <a:ext cx="56" cy="65"/>
            </a:xfrm>
            <a:custGeom>
              <a:avLst/>
              <a:gdLst>
                <a:gd name="T0" fmla="*/ 34 w 56"/>
                <a:gd name="T1" fmla="*/ 19 h 65"/>
                <a:gd name="T2" fmla="*/ 33 w 56"/>
                <a:gd name="T3" fmla="*/ 13 h 65"/>
                <a:gd name="T4" fmla="*/ 28 w 56"/>
                <a:gd name="T5" fmla="*/ 12 h 65"/>
                <a:gd name="T6" fmla="*/ 26 w 56"/>
                <a:gd name="T7" fmla="*/ 13 h 65"/>
                <a:gd name="T8" fmla="*/ 24 w 56"/>
                <a:gd name="T9" fmla="*/ 16 h 65"/>
                <a:gd name="T10" fmla="*/ 28 w 56"/>
                <a:gd name="T11" fmla="*/ 23 h 65"/>
                <a:gd name="T12" fmla="*/ 46 w 56"/>
                <a:gd name="T13" fmla="*/ 29 h 65"/>
                <a:gd name="T14" fmla="*/ 54 w 56"/>
                <a:gd name="T15" fmla="*/ 37 h 65"/>
                <a:gd name="T16" fmla="*/ 56 w 56"/>
                <a:gd name="T17" fmla="*/ 44 h 65"/>
                <a:gd name="T18" fmla="*/ 54 w 56"/>
                <a:gd name="T19" fmla="*/ 53 h 65"/>
                <a:gd name="T20" fmla="*/ 49 w 56"/>
                <a:gd name="T21" fmla="*/ 60 h 65"/>
                <a:gd name="T22" fmla="*/ 39 w 56"/>
                <a:gd name="T23" fmla="*/ 64 h 65"/>
                <a:gd name="T24" fmla="*/ 30 w 56"/>
                <a:gd name="T25" fmla="*/ 65 h 65"/>
                <a:gd name="T26" fmla="*/ 13 w 56"/>
                <a:gd name="T27" fmla="*/ 63 h 65"/>
                <a:gd name="T28" fmla="*/ 5 w 56"/>
                <a:gd name="T29" fmla="*/ 59 h 65"/>
                <a:gd name="T30" fmla="*/ 1 w 56"/>
                <a:gd name="T31" fmla="*/ 52 h 65"/>
                <a:gd name="T32" fmla="*/ 23 w 56"/>
                <a:gd name="T33" fmla="*/ 45 h 65"/>
                <a:gd name="T34" fmla="*/ 24 w 56"/>
                <a:gd name="T35" fmla="*/ 52 h 65"/>
                <a:gd name="T36" fmla="*/ 26 w 56"/>
                <a:gd name="T37" fmla="*/ 53 h 65"/>
                <a:gd name="T38" fmla="*/ 28 w 56"/>
                <a:gd name="T39" fmla="*/ 53 h 65"/>
                <a:gd name="T40" fmla="*/ 31 w 56"/>
                <a:gd name="T41" fmla="*/ 52 h 65"/>
                <a:gd name="T42" fmla="*/ 33 w 56"/>
                <a:gd name="T43" fmla="*/ 48 h 65"/>
                <a:gd name="T44" fmla="*/ 31 w 56"/>
                <a:gd name="T45" fmla="*/ 44 h 65"/>
                <a:gd name="T46" fmla="*/ 18 w 56"/>
                <a:gd name="T47" fmla="*/ 38 h 65"/>
                <a:gd name="T48" fmla="*/ 7 w 56"/>
                <a:gd name="T49" fmla="*/ 33 h 65"/>
                <a:gd name="T50" fmla="*/ 1 w 56"/>
                <a:gd name="T51" fmla="*/ 20 h 65"/>
                <a:gd name="T52" fmla="*/ 1 w 56"/>
                <a:gd name="T53" fmla="*/ 16 h 65"/>
                <a:gd name="T54" fmla="*/ 5 w 56"/>
                <a:gd name="T55" fmla="*/ 8 h 65"/>
                <a:gd name="T56" fmla="*/ 12 w 56"/>
                <a:gd name="T57" fmla="*/ 3 h 65"/>
                <a:gd name="T58" fmla="*/ 28 w 56"/>
                <a:gd name="T59" fmla="*/ 0 h 65"/>
                <a:gd name="T60" fmla="*/ 35 w 56"/>
                <a:gd name="T61" fmla="*/ 0 h 65"/>
                <a:gd name="T62" fmla="*/ 46 w 56"/>
                <a:gd name="T63" fmla="*/ 3 h 65"/>
                <a:gd name="T64" fmla="*/ 52 w 56"/>
                <a:gd name="T65" fmla="*/ 8 h 65"/>
                <a:gd name="T66" fmla="*/ 54 w 56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5">
                  <a:moveTo>
                    <a:pt x="34" y="19"/>
                  </a:moveTo>
                  <a:lnTo>
                    <a:pt x="34" y="19"/>
                  </a:lnTo>
                  <a:lnTo>
                    <a:pt x="33" y="13"/>
                  </a:lnTo>
                  <a:lnTo>
                    <a:pt x="31" y="12"/>
                  </a:lnTo>
                  <a:lnTo>
                    <a:pt x="28" y="12"/>
                  </a:lnTo>
                  <a:lnTo>
                    <a:pt x="26" y="13"/>
                  </a:lnTo>
                  <a:lnTo>
                    <a:pt x="24" y="16"/>
                  </a:lnTo>
                  <a:lnTo>
                    <a:pt x="26" y="20"/>
                  </a:lnTo>
                  <a:lnTo>
                    <a:pt x="28" y="23"/>
                  </a:lnTo>
                  <a:lnTo>
                    <a:pt x="41" y="26"/>
                  </a:lnTo>
                  <a:lnTo>
                    <a:pt x="46" y="29"/>
                  </a:lnTo>
                  <a:lnTo>
                    <a:pt x="52" y="31"/>
                  </a:lnTo>
                  <a:lnTo>
                    <a:pt x="54" y="37"/>
                  </a:lnTo>
                  <a:lnTo>
                    <a:pt x="56" y="44"/>
                  </a:lnTo>
                  <a:lnTo>
                    <a:pt x="56" y="49"/>
                  </a:lnTo>
                  <a:lnTo>
                    <a:pt x="54" y="53"/>
                  </a:lnTo>
                  <a:lnTo>
                    <a:pt x="52" y="57"/>
                  </a:lnTo>
                  <a:lnTo>
                    <a:pt x="49" y="60"/>
                  </a:lnTo>
                  <a:lnTo>
                    <a:pt x="45" y="63"/>
                  </a:lnTo>
                  <a:lnTo>
                    <a:pt x="39" y="64"/>
                  </a:lnTo>
                  <a:lnTo>
                    <a:pt x="30" y="65"/>
                  </a:lnTo>
                  <a:lnTo>
                    <a:pt x="19" y="64"/>
                  </a:lnTo>
                  <a:lnTo>
                    <a:pt x="13" y="63"/>
                  </a:lnTo>
                  <a:lnTo>
                    <a:pt x="9" y="61"/>
                  </a:lnTo>
                  <a:lnTo>
                    <a:pt x="5" y="59"/>
                  </a:lnTo>
                  <a:lnTo>
                    <a:pt x="3" y="56"/>
                  </a:lnTo>
                  <a:lnTo>
                    <a:pt x="1" y="52"/>
                  </a:lnTo>
                  <a:lnTo>
                    <a:pt x="0" y="45"/>
                  </a:lnTo>
                  <a:lnTo>
                    <a:pt x="23" y="45"/>
                  </a:lnTo>
                  <a:lnTo>
                    <a:pt x="24" y="52"/>
                  </a:lnTo>
                  <a:lnTo>
                    <a:pt x="26" y="53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28" y="41"/>
                  </a:lnTo>
                  <a:lnTo>
                    <a:pt x="18" y="38"/>
                  </a:lnTo>
                  <a:lnTo>
                    <a:pt x="11" y="35"/>
                  </a:lnTo>
                  <a:lnTo>
                    <a:pt x="7" y="33"/>
                  </a:lnTo>
                  <a:lnTo>
                    <a:pt x="3" y="29"/>
                  </a:lnTo>
                  <a:lnTo>
                    <a:pt x="1" y="20"/>
                  </a:lnTo>
                  <a:lnTo>
                    <a:pt x="1" y="16"/>
                  </a:lnTo>
                  <a:lnTo>
                    <a:pt x="3" y="11"/>
                  </a:lnTo>
                  <a:lnTo>
                    <a:pt x="5" y="8"/>
                  </a:lnTo>
                  <a:lnTo>
                    <a:pt x="8" y="5"/>
                  </a:lnTo>
                  <a:lnTo>
                    <a:pt x="12" y="3"/>
                  </a:lnTo>
                  <a:lnTo>
                    <a:pt x="16" y="1"/>
                  </a:lnTo>
                  <a:lnTo>
                    <a:pt x="28" y="0"/>
                  </a:lnTo>
                  <a:lnTo>
                    <a:pt x="35" y="0"/>
                  </a:lnTo>
                  <a:lnTo>
                    <a:pt x="41" y="1"/>
                  </a:lnTo>
                  <a:lnTo>
                    <a:pt x="46" y="3"/>
                  </a:lnTo>
                  <a:lnTo>
                    <a:pt x="49" y="5"/>
                  </a:lnTo>
                  <a:lnTo>
                    <a:pt x="52" y="8"/>
                  </a:lnTo>
                  <a:lnTo>
                    <a:pt x="53" y="11"/>
                  </a:lnTo>
                  <a:lnTo>
                    <a:pt x="54" y="19"/>
                  </a:lnTo>
                  <a:lnTo>
                    <a:pt x="34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3" name="Freeform 60"/>
            <p:cNvSpPr>
              <a:spLocks/>
            </p:cNvSpPr>
            <p:nvPr userDrawn="1"/>
          </p:nvSpPr>
          <p:spPr bwMode="auto">
            <a:xfrm>
              <a:off x="3456" y="4107"/>
              <a:ext cx="51" cy="62"/>
            </a:xfrm>
            <a:custGeom>
              <a:avLst/>
              <a:gdLst>
                <a:gd name="T0" fmla="*/ 0 w 51"/>
                <a:gd name="T1" fmla="*/ 0 h 62"/>
                <a:gd name="T2" fmla="*/ 51 w 51"/>
                <a:gd name="T3" fmla="*/ 0 h 62"/>
                <a:gd name="T4" fmla="*/ 51 w 51"/>
                <a:gd name="T5" fmla="*/ 15 h 62"/>
                <a:gd name="T6" fmla="*/ 37 w 51"/>
                <a:gd name="T7" fmla="*/ 15 h 62"/>
                <a:gd name="T8" fmla="*/ 37 w 51"/>
                <a:gd name="T9" fmla="*/ 62 h 62"/>
                <a:gd name="T10" fmla="*/ 14 w 51"/>
                <a:gd name="T11" fmla="*/ 62 h 62"/>
                <a:gd name="T12" fmla="*/ 14 w 51"/>
                <a:gd name="T13" fmla="*/ 15 h 62"/>
                <a:gd name="T14" fmla="*/ 0 w 51"/>
                <a:gd name="T15" fmla="*/ 15 h 62"/>
                <a:gd name="T16" fmla="*/ 0 w 51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1" h="62">
                  <a:moveTo>
                    <a:pt x="0" y="0"/>
                  </a:moveTo>
                  <a:lnTo>
                    <a:pt x="51" y="0"/>
                  </a:lnTo>
                  <a:lnTo>
                    <a:pt x="51" y="15"/>
                  </a:lnTo>
                  <a:lnTo>
                    <a:pt x="37" y="15"/>
                  </a:lnTo>
                  <a:lnTo>
                    <a:pt x="37" y="62"/>
                  </a:lnTo>
                  <a:lnTo>
                    <a:pt x="14" y="62"/>
                  </a:lnTo>
                  <a:lnTo>
                    <a:pt x="14" y="15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4" name="Freeform 61"/>
            <p:cNvSpPr>
              <a:spLocks noEditPoints="1"/>
            </p:cNvSpPr>
            <p:nvPr userDrawn="1"/>
          </p:nvSpPr>
          <p:spPr bwMode="auto">
            <a:xfrm>
              <a:off x="3567" y="4107"/>
              <a:ext cx="59" cy="62"/>
            </a:xfrm>
            <a:custGeom>
              <a:avLst/>
              <a:gdLst>
                <a:gd name="T0" fmla="*/ 23 w 59"/>
                <a:gd name="T1" fmla="*/ 12 h 62"/>
                <a:gd name="T2" fmla="*/ 26 w 59"/>
                <a:gd name="T3" fmla="*/ 12 h 62"/>
                <a:gd name="T4" fmla="*/ 26 w 59"/>
                <a:gd name="T5" fmla="*/ 12 h 62"/>
                <a:gd name="T6" fmla="*/ 29 w 59"/>
                <a:gd name="T7" fmla="*/ 12 h 62"/>
                <a:gd name="T8" fmla="*/ 30 w 59"/>
                <a:gd name="T9" fmla="*/ 14 h 62"/>
                <a:gd name="T10" fmla="*/ 32 w 59"/>
                <a:gd name="T11" fmla="*/ 15 h 62"/>
                <a:gd name="T12" fmla="*/ 33 w 59"/>
                <a:gd name="T13" fmla="*/ 18 h 62"/>
                <a:gd name="T14" fmla="*/ 33 w 59"/>
                <a:gd name="T15" fmla="*/ 18 h 62"/>
                <a:gd name="T16" fmla="*/ 33 w 59"/>
                <a:gd name="T17" fmla="*/ 21 h 62"/>
                <a:gd name="T18" fmla="*/ 32 w 59"/>
                <a:gd name="T19" fmla="*/ 23 h 62"/>
                <a:gd name="T20" fmla="*/ 30 w 59"/>
                <a:gd name="T21" fmla="*/ 25 h 62"/>
                <a:gd name="T22" fmla="*/ 28 w 59"/>
                <a:gd name="T23" fmla="*/ 25 h 62"/>
                <a:gd name="T24" fmla="*/ 23 w 59"/>
                <a:gd name="T25" fmla="*/ 25 h 62"/>
                <a:gd name="T26" fmla="*/ 23 w 59"/>
                <a:gd name="T27" fmla="*/ 12 h 62"/>
                <a:gd name="T28" fmla="*/ 0 w 59"/>
                <a:gd name="T29" fmla="*/ 62 h 62"/>
                <a:gd name="T30" fmla="*/ 23 w 59"/>
                <a:gd name="T31" fmla="*/ 62 h 62"/>
                <a:gd name="T32" fmla="*/ 23 w 59"/>
                <a:gd name="T33" fmla="*/ 37 h 62"/>
                <a:gd name="T34" fmla="*/ 26 w 59"/>
                <a:gd name="T35" fmla="*/ 37 h 62"/>
                <a:gd name="T36" fmla="*/ 26 w 59"/>
                <a:gd name="T37" fmla="*/ 37 h 62"/>
                <a:gd name="T38" fmla="*/ 29 w 59"/>
                <a:gd name="T39" fmla="*/ 37 h 62"/>
                <a:gd name="T40" fmla="*/ 32 w 59"/>
                <a:gd name="T41" fmla="*/ 38 h 62"/>
                <a:gd name="T42" fmla="*/ 32 w 59"/>
                <a:gd name="T43" fmla="*/ 41 h 62"/>
                <a:gd name="T44" fmla="*/ 33 w 59"/>
                <a:gd name="T45" fmla="*/ 44 h 62"/>
                <a:gd name="T46" fmla="*/ 33 w 59"/>
                <a:gd name="T47" fmla="*/ 58 h 62"/>
                <a:gd name="T48" fmla="*/ 33 w 59"/>
                <a:gd name="T49" fmla="*/ 58 h 62"/>
                <a:gd name="T50" fmla="*/ 33 w 59"/>
                <a:gd name="T51" fmla="*/ 60 h 62"/>
                <a:gd name="T52" fmla="*/ 36 w 59"/>
                <a:gd name="T53" fmla="*/ 62 h 62"/>
                <a:gd name="T54" fmla="*/ 59 w 59"/>
                <a:gd name="T55" fmla="*/ 62 h 62"/>
                <a:gd name="T56" fmla="*/ 59 w 59"/>
                <a:gd name="T57" fmla="*/ 62 h 62"/>
                <a:gd name="T58" fmla="*/ 59 w 59"/>
                <a:gd name="T59" fmla="*/ 62 h 62"/>
                <a:gd name="T60" fmla="*/ 56 w 59"/>
                <a:gd name="T61" fmla="*/ 60 h 62"/>
                <a:gd name="T62" fmla="*/ 56 w 59"/>
                <a:gd name="T63" fmla="*/ 56 h 62"/>
                <a:gd name="T64" fmla="*/ 56 w 59"/>
                <a:gd name="T65" fmla="*/ 43 h 62"/>
                <a:gd name="T66" fmla="*/ 56 w 59"/>
                <a:gd name="T67" fmla="*/ 43 h 62"/>
                <a:gd name="T68" fmla="*/ 55 w 59"/>
                <a:gd name="T69" fmla="*/ 37 h 62"/>
                <a:gd name="T70" fmla="*/ 52 w 59"/>
                <a:gd name="T71" fmla="*/ 34 h 62"/>
                <a:gd name="T72" fmla="*/ 48 w 59"/>
                <a:gd name="T73" fmla="*/ 32 h 62"/>
                <a:gd name="T74" fmla="*/ 44 w 59"/>
                <a:gd name="T75" fmla="*/ 32 h 62"/>
                <a:gd name="T76" fmla="*/ 44 w 59"/>
                <a:gd name="T77" fmla="*/ 32 h 62"/>
                <a:gd name="T78" fmla="*/ 44 w 59"/>
                <a:gd name="T79" fmla="*/ 32 h 62"/>
                <a:gd name="T80" fmla="*/ 49 w 59"/>
                <a:gd name="T81" fmla="*/ 30 h 62"/>
                <a:gd name="T82" fmla="*/ 52 w 59"/>
                <a:gd name="T83" fmla="*/ 28 h 62"/>
                <a:gd name="T84" fmla="*/ 55 w 59"/>
                <a:gd name="T85" fmla="*/ 23 h 62"/>
                <a:gd name="T86" fmla="*/ 56 w 59"/>
                <a:gd name="T87" fmla="*/ 18 h 62"/>
                <a:gd name="T88" fmla="*/ 56 w 59"/>
                <a:gd name="T89" fmla="*/ 18 h 62"/>
                <a:gd name="T90" fmla="*/ 55 w 59"/>
                <a:gd name="T91" fmla="*/ 10 h 62"/>
                <a:gd name="T92" fmla="*/ 54 w 59"/>
                <a:gd name="T93" fmla="*/ 7 h 62"/>
                <a:gd name="T94" fmla="*/ 51 w 59"/>
                <a:gd name="T95" fmla="*/ 4 h 62"/>
                <a:gd name="T96" fmla="*/ 45 w 59"/>
                <a:gd name="T97" fmla="*/ 2 h 62"/>
                <a:gd name="T98" fmla="*/ 36 w 59"/>
                <a:gd name="T99" fmla="*/ 0 h 62"/>
                <a:gd name="T100" fmla="*/ 0 w 59"/>
                <a:gd name="T101" fmla="*/ 0 h 62"/>
                <a:gd name="T102" fmla="*/ 0 w 59"/>
                <a:gd name="T103" fmla="*/ 62 h 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" h="62">
                  <a:moveTo>
                    <a:pt x="23" y="12"/>
                  </a:moveTo>
                  <a:lnTo>
                    <a:pt x="26" y="12"/>
                  </a:lnTo>
                  <a:lnTo>
                    <a:pt x="29" y="12"/>
                  </a:lnTo>
                  <a:lnTo>
                    <a:pt x="30" y="14"/>
                  </a:lnTo>
                  <a:lnTo>
                    <a:pt x="32" y="15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2" y="23"/>
                  </a:lnTo>
                  <a:lnTo>
                    <a:pt x="30" y="25"/>
                  </a:lnTo>
                  <a:lnTo>
                    <a:pt x="28" y="25"/>
                  </a:lnTo>
                  <a:lnTo>
                    <a:pt x="23" y="25"/>
                  </a:lnTo>
                  <a:lnTo>
                    <a:pt x="23" y="12"/>
                  </a:lnTo>
                  <a:close/>
                  <a:moveTo>
                    <a:pt x="0" y="62"/>
                  </a:moveTo>
                  <a:lnTo>
                    <a:pt x="23" y="62"/>
                  </a:lnTo>
                  <a:lnTo>
                    <a:pt x="23" y="37"/>
                  </a:lnTo>
                  <a:lnTo>
                    <a:pt x="26" y="37"/>
                  </a:lnTo>
                  <a:lnTo>
                    <a:pt x="29" y="37"/>
                  </a:lnTo>
                  <a:lnTo>
                    <a:pt x="32" y="38"/>
                  </a:lnTo>
                  <a:lnTo>
                    <a:pt x="32" y="41"/>
                  </a:lnTo>
                  <a:lnTo>
                    <a:pt x="33" y="44"/>
                  </a:lnTo>
                  <a:lnTo>
                    <a:pt x="33" y="58"/>
                  </a:lnTo>
                  <a:lnTo>
                    <a:pt x="33" y="60"/>
                  </a:lnTo>
                  <a:lnTo>
                    <a:pt x="36" y="62"/>
                  </a:lnTo>
                  <a:lnTo>
                    <a:pt x="59" y="62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6" y="43"/>
                  </a:lnTo>
                  <a:lnTo>
                    <a:pt x="55" y="37"/>
                  </a:lnTo>
                  <a:lnTo>
                    <a:pt x="52" y="34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9" y="30"/>
                  </a:lnTo>
                  <a:lnTo>
                    <a:pt x="52" y="28"/>
                  </a:lnTo>
                  <a:lnTo>
                    <a:pt x="55" y="23"/>
                  </a:lnTo>
                  <a:lnTo>
                    <a:pt x="56" y="18"/>
                  </a:lnTo>
                  <a:lnTo>
                    <a:pt x="55" y="10"/>
                  </a:lnTo>
                  <a:lnTo>
                    <a:pt x="54" y="7"/>
                  </a:lnTo>
                  <a:lnTo>
                    <a:pt x="51" y="4"/>
                  </a:lnTo>
                  <a:lnTo>
                    <a:pt x="45" y="2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5" name="Freeform 62"/>
            <p:cNvSpPr>
              <a:spLocks/>
            </p:cNvSpPr>
            <p:nvPr userDrawn="1"/>
          </p:nvSpPr>
          <p:spPr bwMode="auto">
            <a:xfrm>
              <a:off x="3638" y="4107"/>
              <a:ext cx="56" cy="64"/>
            </a:xfrm>
            <a:custGeom>
              <a:avLst/>
              <a:gdLst>
                <a:gd name="T0" fmla="*/ 56 w 56"/>
                <a:gd name="T1" fmla="*/ 40 h 64"/>
                <a:gd name="T2" fmla="*/ 56 w 56"/>
                <a:gd name="T3" fmla="*/ 40 h 64"/>
                <a:gd name="T4" fmla="*/ 55 w 56"/>
                <a:gd name="T5" fmla="*/ 47 h 64"/>
                <a:gd name="T6" fmla="*/ 54 w 56"/>
                <a:gd name="T7" fmla="*/ 52 h 64"/>
                <a:gd name="T8" fmla="*/ 51 w 56"/>
                <a:gd name="T9" fmla="*/ 56 h 64"/>
                <a:gd name="T10" fmla="*/ 47 w 56"/>
                <a:gd name="T11" fmla="*/ 60 h 64"/>
                <a:gd name="T12" fmla="*/ 43 w 56"/>
                <a:gd name="T13" fmla="*/ 62 h 64"/>
                <a:gd name="T14" fmla="*/ 39 w 56"/>
                <a:gd name="T15" fmla="*/ 63 h 64"/>
                <a:gd name="T16" fmla="*/ 28 w 56"/>
                <a:gd name="T17" fmla="*/ 64 h 64"/>
                <a:gd name="T18" fmla="*/ 28 w 56"/>
                <a:gd name="T19" fmla="*/ 64 h 64"/>
                <a:gd name="T20" fmla="*/ 18 w 56"/>
                <a:gd name="T21" fmla="*/ 63 h 64"/>
                <a:gd name="T22" fmla="*/ 13 w 56"/>
                <a:gd name="T23" fmla="*/ 62 h 64"/>
                <a:gd name="T24" fmla="*/ 9 w 56"/>
                <a:gd name="T25" fmla="*/ 60 h 64"/>
                <a:gd name="T26" fmla="*/ 6 w 56"/>
                <a:gd name="T27" fmla="*/ 56 h 64"/>
                <a:gd name="T28" fmla="*/ 3 w 56"/>
                <a:gd name="T29" fmla="*/ 52 h 64"/>
                <a:gd name="T30" fmla="*/ 0 w 56"/>
                <a:gd name="T31" fmla="*/ 47 h 64"/>
                <a:gd name="T32" fmla="*/ 0 w 56"/>
                <a:gd name="T33" fmla="*/ 40 h 64"/>
                <a:gd name="T34" fmla="*/ 0 w 56"/>
                <a:gd name="T35" fmla="*/ 0 h 64"/>
                <a:gd name="T36" fmla="*/ 24 w 56"/>
                <a:gd name="T37" fmla="*/ 0 h 64"/>
                <a:gd name="T38" fmla="*/ 24 w 56"/>
                <a:gd name="T39" fmla="*/ 45 h 64"/>
                <a:gd name="T40" fmla="*/ 24 w 56"/>
                <a:gd name="T41" fmla="*/ 45 h 64"/>
                <a:gd name="T42" fmla="*/ 25 w 56"/>
                <a:gd name="T43" fmla="*/ 49 h 64"/>
                <a:gd name="T44" fmla="*/ 26 w 56"/>
                <a:gd name="T45" fmla="*/ 51 h 64"/>
                <a:gd name="T46" fmla="*/ 28 w 56"/>
                <a:gd name="T47" fmla="*/ 51 h 64"/>
                <a:gd name="T48" fmla="*/ 28 w 56"/>
                <a:gd name="T49" fmla="*/ 51 h 64"/>
                <a:gd name="T50" fmla="*/ 30 w 56"/>
                <a:gd name="T51" fmla="*/ 51 h 64"/>
                <a:gd name="T52" fmla="*/ 32 w 56"/>
                <a:gd name="T53" fmla="*/ 49 h 64"/>
                <a:gd name="T54" fmla="*/ 33 w 56"/>
                <a:gd name="T55" fmla="*/ 45 h 64"/>
                <a:gd name="T56" fmla="*/ 33 w 56"/>
                <a:gd name="T57" fmla="*/ 0 h 64"/>
                <a:gd name="T58" fmla="*/ 56 w 56"/>
                <a:gd name="T59" fmla="*/ 0 h 64"/>
                <a:gd name="T60" fmla="*/ 56 w 56"/>
                <a:gd name="T61" fmla="*/ 40 h 6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6" h="64">
                  <a:moveTo>
                    <a:pt x="56" y="40"/>
                  </a:moveTo>
                  <a:lnTo>
                    <a:pt x="56" y="40"/>
                  </a:lnTo>
                  <a:lnTo>
                    <a:pt x="55" y="47"/>
                  </a:lnTo>
                  <a:lnTo>
                    <a:pt x="54" y="52"/>
                  </a:lnTo>
                  <a:lnTo>
                    <a:pt x="51" y="56"/>
                  </a:lnTo>
                  <a:lnTo>
                    <a:pt x="47" y="60"/>
                  </a:lnTo>
                  <a:lnTo>
                    <a:pt x="43" y="62"/>
                  </a:lnTo>
                  <a:lnTo>
                    <a:pt x="39" y="63"/>
                  </a:lnTo>
                  <a:lnTo>
                    <a:pt x="28" y="64"/>
                  </a:lnTo>
                  <a:lnTo>
                    <a:pt x="18" y="63"/>
                  </a:lnTo>
                  <a:lnTo>
                    <a:pt x="13" y="62"/>
                  </a:lnTo>
                  <a:lnTo>
                    <a:pt x="9" y="60"/>
                  </a:lnTo>
                  <a:lnTo>
                    <a:pt x="6" y="56"/>
                  </a:lnTo>
                  <a:lnTo>
                    <a:pt x="3" y="52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45"/>
                  </a:lnTo>
                  <a:lnTo>
                    <a:pt x="25" y="49"/>
                  </a:lnTo>
                  <a:lnTo>
                    <a:pt x="26" y="51"/>
                  </a:lnTo>
                  <a:lnTo>
                    <a:pt x="28" y="51"/>
                  </a:lnTo>
                  <a:lnTo>
                    <a:pt x="30" y="51"/>
                  </a:lnTo>
                  <a:lnTo>
                    <a:pt x="32" y="49"/>
                  </a:lnTo>
                  <a:lnTo>
                    <a:pt x="33" y="45"/>
                  </a:lnTo>
                  <a:lnTo>
                    <a:pt x="33" y="0"/>
                  </a:lnTo>
                  <a:lnTo>
                    <a:pt x="56" y="0"/>
                  </a:lnTo>
                  <a:lnTo>
                    <a:pt x="56" y="4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6" name="Freeform 63"/>
            <p:cNvSpPr>
              <a:spLocks/>
            </p:cNvSpPr>
            <p:nvPr userDrawn="1"/>
          </p:nvSpPr>
          <p:spPr bwMode="auto">
            <a:xfrm>
              <a:off x="3708" y="4107"/>
              <a:ext cx="63" cy="62"/>
            </a:xfrm>
            <a:custGeom>
              <a:avLst/>
              <a:gdLst>
                <a:gd name="T0" fmla="*/ 0 w 63"/>
                <a:gd name="T1" fmla="*/ 0 h 62"/>
                <a:gd name="T2" fmla="*/ 30 w 63"/>
                <a:gd name="T3" fmla="*/ 0 h 62"/>
                <a:gd name="T4" fmla="*/ 44 w 63"/>
                <a:gd name="T5" fmla="*/ 38 h 62"/>
                <a:gd name="T6" fmla="*/ 44 w 63"/>
                <a:gd name="T7" fmla="*/ 38 h 62"/>
                <a:gd name="T8" fmla="*/ 44 w 63"/>
                <a:gd name="T9" fmla="*/ 0 h 62"/>
                <a:gd name="T10" fmla="*/ 63 w 63"/>
                <a:gd name="T11" fmla="*/ 0 h 62"/>
                <a:gd name="T12" fmla="*/ 63 w 63"/>
                <a:gd name="T13" fmla="*/ 62 h 62"/>
                <a:gd name="T14" fmla="*/ 34 w 63"/>
                <a:gd name="T15" fmla="*/ 62 h 62"/>
                <a:gd name="T16" fmla="*/ 21 w 63"/>
                <a:gd name="T17" fmla="*/ 26 h 62"/>
                <a:gd name="T18" fmla="*/ 21 w 63"/>
                <a:gd name="T19" fmla="*/ 26 h 62"/>
                <a:gd name="T20" fmla="*/ 21 w 63"/>
                <a:gd name="T21" fmla="*/ 62 h 62"/>
                <a:gd name="T22" fmla="*/ 0 w 63"/>
                <a:gd name="T23" fmla="*/ 62 h 62"/>
                <a:gd name="T24" fmla="*/ 0 w 63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" h="62">
                  <a:moveTo>
                    <a:pt x="0" y="0"/>
                  </a:moveTo>
                  <a:lnTo>
                    <a:pt x="30" y="0"/>
                  </a:lnTo>
                  <a:lnTo>
                    <a:pt x="44" y="38"/>
                  </a:lnTo>
                  <a:lnTo>
                    <a:pt x="44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34" y="62"/>
                  </a:lnTo>
                  <a:lnTo>
                    <a:pt x="21" y="26"/>
                  </a:lnTo>
                  <a:lnTo>
                    <a:pt x="21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7" name="Freeform 64"/>
            <p:cNvSpPr>
              <a:spLocks noEditPoints="1"/>
            </p:cNvSpPr>
            <p:nvPr userDrawn="1"/>
          </p:nvSpPr>
          <p:spPr bwMode="auto">
            <a:xfrm>
              <a:off x="3833" y="4107"/>
              <a:ext cx="56" cy="62"/>
            </a:xfrm>
            <a:custGeom>
              <a:avLst/>
              <a:gdLst>
                <a:gd name="T0" fmla="*/ 21 w 56"/>
                <a:gd name="T1" fmla="*/ 37 h 62"/>
                <a:gd name="T2" fmla="*/ 27 w 56"/>
                <a:gd name="T3" fmla="*/ 37 h 62"/>
                <a:gd name="T4" fmla="*/ 27 w 56"/>
                <a:gd name="T5" fmla="*/ 37 h 62"/>
                <a:gd name="T6" fmla="*/ 31 w 56"/>
                <a:gd name="T7" fmla="*/ 38 h 62"/>
                <a:gd name="T8" fmla="*/ 31 w 56"/>
                <a:gd name="T9" fmla="*/ 40 h 62"/>
                <a:gd name="T10" fmla="*/ 32 w 56"/>
                <a:gd name="T11" fmla="*/ 43 h 62"/>
                <a:gd name="T12" fmla="*/ 32 w 56"/>
                <a:gd name="T13" fmla="*/ 43 h 62"/>
                <a:gd name="T14" fmla="*/ 31 w 56"/>
                <a:gd name="T15" fmla="*/ 47 h 62"/>
                <a:gd name="T16" fmla="*/ 28 w 56"/>
                <a:gd name="T17" fmla="*/ 49 h 62"/>
                <a:gd name="T18" fmla="*/ 27 w 56"/>
                <a:gd name="T19" fmla="*/ 49 h 62"/>
                <a:gd name="T20" fmla="*/ 21 w 56"/>
                <a:gd name="T21" fmla="*/ 49 h 62"/>
                <a:gd name="T22" fmla="*/ 21 w 56"/>
                <a:gd name="T23" fmla="*/ 37 h 62"/>
                <a:gd name="T24" fmla="*/ 0 w 56"/>
                <a:gd name="T25" fmla="*/ 62 h 62"/>
                <a:gd name="T26" fmla="*/ 35 w 56"/>
                <a:gd name="T27" fmla="*/ 62 h 62"/>
                <a:gd name="T28" fmla="*/ 35 w 56"/>
                <a:gd name="T29" fmla="*/ 62 h 62"/>
                <a:gd name="T30" fmla="*/ 41 w 56"/>
                <a:gd name="T31" fmla="*/ 62 h 62"/>
                <a:gd name="T32" fmla="*/ 45 w 56"/>
                <a:gd name="T33" fmla="*/ 60 h 62"/>
                <a:gd name="T34" fmla="*/ 49 w 56"/>
                <a:gd name="T35" fmla="*/ 59 h 62"/>
                <a:gd name="T36" fmla="*/ 52 w 56"/>
                <a:gd name="T37" fmla="*/ 58 h 62"/>
                <a:gd name="T38" fmla="*/ 54 w 56"/>
                <a:gd name="T39" fmla="*/ 52 h 62"/>
                <a:gd name="T40" fmla="*/ 56 w 56"/>
                <a:gd name="T41" fmla="*/ 47 h 62"/>
                <a:gd name="T42" fmla="*/ 56 w 56"/>
                <a:gd name="T43" fmla="*/ 47 h 62"/>
                <a:gd name="T44" fmla="*/ 54 w 56"/>
                <a:gd name="T45" fmla="*/ 40 h 62"/>
                <a:gd name="T46" fmla="*/ 50 w 56"/>
                <a:gd name="T47" fmla="*/ 36 h 62"/>
                <a:gd name="T48" fmla="*/ 46 w 56"/>
                <a:gd name="T49" fmla="*/ 32 h 62"/>
                <a:gd name="T50" fmla="*/ 39 w 56"/>
                <a:gd name="T51" fmla="*/ 30 h 62"/>
                <a:gd name="T52" fmla="*/ 39 w 56"/>
                <a:gd name="T53" fmla="*/ 30 h 62"/>
                <a:gd name="T54" fmla="*/ 39 w 56"/>
                <a:gd name="T55" fmla="*/ 30 h 62"/>
                <a:gd name="T56" fmla="*/ 45 w 56"/>
                <a:gd name="T57" fmla="*/ 29 h 62"/>
                <a:gd name="T58" fmla="*/ 50 w 56"/>
                <a:gd name="T59" fmla="*/ 26 h 62"/>
                <a:gd name="T60" fmla="*/ 53 w 56"/>
                <a:gd name="T61" fmla="*/ 22 h 62"/>
                <a:gd name="T62" fmla="*/ 54 w 56"/>
                <a:gd name="T63" fmla="*/ 15 h 62"/>
                <a:gd name="T64" fmla="*/ 54 w 56"/>
                <a:gd name="T65" fmla="*/ 15 h 62"/>
                <a:gd name="T66" fmla="*/ 53 w 56"/>
                <a:gd name="T67" fmla="*/ 10 h 62"/>
                <a:gd name="T68" fmla="*/ 52 w 56"/>
                <a:gd name="T69" fmla="*/ 7 h 62"/>
                <a:gd name="T70" fmla="*/ 49 w 56"/>
                <a:gd name="T71" fmla="*/ 4 h 62"/>
                <a:gd name="T72" fmla="*/ 42 w 56"/>
                <a:gd name="T73" fmla="*/ 2 h 62"/>
                <a:gd name="T74" fmla="*/ 31 w 56"/>
                <a:gd name="T75" fmla="*/ 0 h 62"/>
                <a:gd name="T76" fmla="*/ 0 w 56"/>
                <a:gd name="T77" fmla="*/ 0 h 62"/>
                <a:gd name="T78" fmla="*/ 0 w 56"/>
                <a:gd name="T79" fmla="*/ 62 h 62"/>
                <a:gd name="T80" fmla="*/ 21 w 56"/>
                <a:gd name="T81" fmla="*/ 14 h 62"/>
                <a:gd name="T82" fmla="*/ 27 w 56"/>
                <a:gd name="T83" fmla="*/ 14 h 62"/>
                <a:gd name="T84" fmla="*/ 27 w 56"/>
                <a:gd name="T85" fmla="*/ 14 h 62"/>
                <a:gd name="T86" fmla="*/ 28 w 56"/>
                <a:gd name="T87" fmla="*/ 14 h 62"/>
                <a:gd name="T88" fmla="*/ 30 w 56"/>
                <a:gd name="T89" fmla="*/ 15 h 62"/>
                <a:gd name="T90" fmla="*/ 31 w 56"/>
                <a:gd name="T91" fmla="*/ 19 h 62"/>
                <a:gd name="T92" fmla="*/ 31 w 56"/>
                <a:gd name="T93" fmla="*/ 19 h 62"/>
                <a:gd name="T94" fmla="*/ 30 w 56"/>
                <a:gd name="T95" fmla="*/ 23 h 62"/>
                <a:gd name="T96" fmla="*/ 28 w 56"/>
                <a:gd name="T97" fmla="*/ 25 h 62"/>
                <a:gd name="T98" fmla="*/ 27 w 56"/>
                <a:gd name="T99" fmla="*/ 25 h 62"/>
                <a:gd name="T100" fmla="*/ 21 w 56"/>
                <a:gd name="T101" fmla="*/ 25 h 62"/>
                <a:gd name="T102" fmla="*/ 21 w 56"/>
                <a:gd name="T103" fmla="*/ 14 h 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6" h="62">
                  <a:moveTo>
                    <a:pt x="21" y="37"/>
                  </a:moveTo>
                  <a:lnTo>
                    <a:pt x="27" y="37"/>
                  </a:lnTo>
                  <a:lnTo>
                    <a:pt x="31" y="38"/>
                  </a:lnTo>
                  <a:lnTo>
                    <a:pt x="31" y="40"/>
                  </a:lnTo>
                  <a:lnTo>
                    <a:pt x="32" y="43"/>
                  </a:lnTo>
                  <a:lnTo>
                    <a:pt x="31" y="47"/>
                  </a:lnTo>
                  <a:lnTo>
                    <a:pt x="28" y="49"/>
                  </a:lnTo>
                  <a:lnTo>
                    <a:pt x="27" y="49"/>
                  </a:lnTo>
                  <a:lnTo>
                    <a:pt x="21" y="49"/>
                  </a:lnTo>
                  <a:lnTo>
                    <a:pt x="21" y="37"/>
                  </a:lnTo>
                  <a:close/>
                  <a:moveTo>
                    <a:pt x="0" y="62"/>
                  </a:moveTo>
                  <a:lnTo>
                    <a:pt x="35" y="62"/>
                  </a:lnTo>
                  <a:lnTo>
                    <a:pt x="41" y="62"/>
                  </a:lnTo>
                  <a:lnTo>
                    <a:pt x="45" y="60"/>
                  </a:lnTo>
                  <a:lnTo>
                    <a:pt x="49" y="59"/>
                  </a:lnTo>
                  <a:lnTo>
                    <a:pt x="52" y="58"/>
                  </a:lnTo>
                  <a:lnTo>
                    <a:pt x="54" y="52"/>
                  </a:lnTo>
                  <a:lnTo>
                    <a:pt x="56" y="47"/>
                  </a:lnTo>
                  <a:lnTo>
                    <a:pt x="54" y="40"/>
                  </a:lnTo>
                  <a:lnTo>
                    <a:pt x="50" y="36"/>
                  </a:lnTo>
                  <a:lnTo>
                    <a:pt x="46" y="32"/>
                  </a:lnTo>
                  <a:lnTo>
                    <a:pt x="39" y="30"/>
                  </a:lnTo>
                  <a:lnTo>
                    <a:pt x="45" y="29"/>
                  </a:lnTo>
                  <a:lnTo>
                    <a:pt x="50" y="26"/>
                  </a:lnTo>
                  <a:lnTo>
                    <a:pt x="53" y="22"/>
                  </a:lnTo>
                  <a:lnTo>
                    <a:pt x="54" y="15"/>
                  </a:lnTo>
                  <a:lnTo>
                    <a:pt x="53" y="10"/>
                  </a:lnTo>
                  <a:lnTo>
                    <a:pt x="52" y="7"/>
                  </a:lnTo>
                  <a:lnTo>
                    <a:pt x="49" y="4"/>
                  </a:lnTo>
                  <a:lnTo>
                    <a:pt x="42" y="2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62"/>
                  </a:lnTo>
                  <a:close/>
                  <a:moveTo>
                    <a:pt x="21" y="14"/>
                  </a:moveTo>
                  <a:lnTo>
                    <a:pt x="27" y="14"/>
                  </a:lnTo>
                  <a:lnTo>
                    <a:pt x="28" y="14"/>
                  </a:lnTo>
                  <a:lnTo>
                    <a:pt x="30" y="15"/>
                  </a:lnTo>
                  <a:lnTo>
                    <a:pt x="31" y="19"/>
                  </a:lnTo>
                  <a:lnTo>
                    <a:pt x="30" y="23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1" y="25"/>
                  </a:lnTo>
                  <a:lnTo>
                    <a:pt x="21" y="14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8" name="Freeform 65"/>
            <p:cNvSpPr>
              <a:spLocks/>
            </p:cNvSpPr>
            <p:nvPr userDrawn="1"/>
          </p:nvSpPr>
          <p:spPr bwMode="auto">
            <a:xfrm>
              <a:off x="3904" y="4107"/>
              <a:ext cx="56" cy="64"/>
            </a:xfrm>
            <a:custGeom>
              <a:avLst/>
              <a:gdLst>
                <a:gd name="T0" fmla="*/ 56 w 56"/>
                <a:gd name="T1" fmla="*/ 40 h 64"/>
                <a:gd name="T2" fmla="*/ 56 w 56"/>
                <a:gd name="T3" fmla="*/ 40 h 64"/>
                <a:gd name="T4" fmla="*/ 56 w 56"/>
                <a:gd name="T5" fmla="*/ 47 h 64"/>
                <a:gd name="T6" fmla="*/ 53 w 56"/>
                <a:gd name="T7" fmla="*/ 52 h 64"/>
                <a:gd name="T8" fmla="*/ 50 w 56"/>
                <a:gd name="T9" fmla="*/ 56 h 64"/>
                <a:gd name="T10" fmla="*/ 48 w 56"/>
                <a:gd name="T11" fmla="*/ 60 h 64"/>
                <a:gd name="T12" fmla="*/ 43 w 56"/>
                <a:gd name="T13" fmla="*/ 62 h 64"/>
                <a:gd name="T14" fmla="*/ 38 w 56"/>
                <a:gd name="T15" fmla="*/ 63 h 64"/>
                <a:gd name="T16" fmla="*/ 28 w 56"/>
                <a:gd name="T17" fmla="*/ 64 h 64"/>
                <a:gd name="T18" fmla="*/ 28 w 56"/>
                <a:gd name="T19" fmla="*/ 64 h 64"/>
                <a:gd name="T20" fmla="*/ 17 w 56"/>
                <a:gd name="T21" fmla="*/ 63 h 64"/>
                <a:gd name="T22" fmla="*/ 13 w 56"/>
                <a:gd name="T23" fmla="*/ 62 h 64"/>
                <a:gd name="T24" fmla="*/ 9 w 56"/>
                <a:gd name="T25" fmla="*/ 60 h 64"/>
                <a:gd name="T26" fmla="*/ 5 w 56"/>
                <a:gd name="T27" fmla="*/ 56 h 64"/>
                <a:gd name="T28" fmla="*/ 2 w 56"/>
                <a:gd name="T29" fmla="*/ 52 h 64"/>
                <a:gd name="T30" fmla="*/ 1 w 56"/>
                <a:gd name="T31" fmla="*/ 47 h 64"/>
                <a:gd name="T32" fmla="*/ 0 w 56"/>
                <a:gd name="T33" fmla="*/ 40 h 64"/>
                <a:gd name="T34" fmla="*/ 0 w 56"/>
                <a:gd name="T35" fmla="*/ 0 h 64"/>
                <a:gd name="T36" fmla="*/ 23 w 56"/>
                <a:gd name="T37" fmla="*/ 0 h 64"/>
                <a:gd name="T38" fmla="*/ 23 w 56"/>
                <a:gd name="T39" fmla="*/ 45 h 64"/>
                <a:gd name="T40" fmla="*/ 23 w 56"/>
                <a:gd name="T41" fmla="*/ 45 h 64"/>
                <a:gd name="T42" fmla="*/ 24 w 56"/>
                <a:gd name="T43" fmla="*/ 49 h 64"/>
                <a:gd name="T44" fmla="*/ 26 w 56"/>
                <a:gd name="T45" fmla="*/ 51 h 64"/>
                <a:gd name="T46" fmla="*/ 28 w 56"/>
                <a:gd name="T47" fmla="*/ 51 h 64"/>
                <a:gd name="T48" fmla="*/ 28 w 56"/>
                <a:gd name="T49" fmla="*/ 51 h 64"/>
                <a:gd name="T50" fmla="*/ 30 w 56"/>
                <a:gd name="T51" fmla="*/ 51 h 64"/>
                <a:gd name="T52" fmla="*/ 31 w 56"/>
                <a:gd name="T53" fmla="*/ 49 h 64"/>
                <a:gd name="T54" fmla="*/ 33 w 56"/>
                <a:gd name="T55" fmla="*/ 45 h 64"/>
                <a:gd name="T56" fmla="*/ 33 w 56"/>
                <a:gd name="T57" fmla="*/ 0 h 64"/>
                <a:gd name="T58" fmla="*/ 56 w 56"/>
                <a:gd name="T59" fmla="*/ 0 h 64"/>
                <a:gd name="T60" fmla="*/ 56 w 56"/>
                <a:gd name="T61" fmla="*/ 40 h 6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6" h="64">
                  <a:moveTo>
                    <a:pt x="56" y="40"/>
                  </a:moveTo>
                  <a:lnTo>
                    <a:pt x="56" y="40"/>
                  </a:lnTo>
                  <a:lnTo>
                    <a:pt x="56" y="47"/>
                  </a:lnTo>
                  <a:lnTo>
                    <a:pt x="53" y="52"/>
                  </a:lnTo>
                  <a:lnTo>
                    <a:pt x="50" y="56"/>
                  </a:lnTo>
                  <a:lnTo>
                    <a:pt x="48" y="60"/>
                  </a:lnTo>
                  <a:lnTo>
                    <a:pt x="43" y="62"/>
                  </a:lnTo>
                  <a:lnTo>
                    <a:pt x="38" y="63"/>
                  </a:lnTo>
                  <a:lnTo>
                    <a:pt x="28" y="64"/>
                  </a:lnTo>
                  <a:lnTo>
                    <a:pt x="17" y="63"/>
                  </a:lnTo>
                  <a:lnTo>
                    <a:pt x="13" y="62"/>
                  </a:lnTo>
                  <a:lnTo>
                    <a:pt x="9" y="60"/>
                  </a:lnTo>
                  <a:lnTo>
                    <a:pt x="5" y="56"/>
                  </a:lnTo>
                  <a:lnTo>
                    <a:pt x="2" y="52"/>
                  </a:lnTo>
                  <a:lnTo>
                    <a:pt x="1" y="47"/>
                  </a:lnTo>
                  <a:lnTo>
                    <a:pt x="0" y="40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45"/>
                  </a:lnTo>
                  <a:lnTo>
                    <a:pt x="24" y="49"/>
                  </a:lnTo>
                  <a:lnTo>
                    <a:pt x="26" y="51"/>
                  </a:lnTo>
                  <a:lnTo>
                    <a:pt x="28" y="51"/>
                  </a:lnTo>
                  <a:lnTo>
                    <a:pt x="30" y="51"/>
                  </a:lnTo>
                  <a:lnTo>
                    <a:pt x="31" y="49"/>
                  </a:lnTo>
                  <a:lnTo>
                    <a:pt x="33" y="45"/>
                  </a:lnTo>
                  <a:lnTo>
                    <a:pt x="33" y="0"/>
                  </a:lnTo>
                  <a:lnTo>
                    <a:pt x="56" y="0"/>
                  </a:lnTo>
                  <a:lnTo>
                    <a:pt x="56" y="4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29" name="Freeform 66"/>
            <p:cNvSpPr>
              <a:spLocks/>
            </p:cNvSpPr>
            <p:nvPr userDrawn="1"/>
          </p:nvSpPr>
          <p:spPr bwMode="auto">
            <a:xfrm>
              <a:off x="3975" y="4106"/>
              <a:ext cx="56" cy="65"/>
            </a:xfrm>
            <a:custGeom>
              <a:avLst/>
              <a:gdLst>
                <a:gd name="T0" fmla="*/ 33 w 56"/>
                <a:gd name="T1" fmla="*/ 19 h 65"/>
                <a:gd name="T2" fmla="*/ 33 w 56"/>
                <a:gd name="T3" fmla="*/ 13 h 65"/>
                <a:gd name="T4" fmla="*/ 27 w 56"/>
                <a:gd name="T5" fmla="*/ 12 h 65"/>
                <a:gd name="T6" fmla="*/ 24 w 56"/>
                <a:gd name="T7" fmla="*/ 13 h 65"/>
                <a:gd name="T8" fmla="*/ 23 w 56"/>
                <a:gd name="T9" fmla="*/ 16 h 65"/>
                <a:gd name="T10" fmla="*/ 29 w 56"/>
                <a:gd name="T11" fmla="*/ 23 h 65"/>
                <a:gd name="T12" fmla="*/ 45 w 56"/>
                <a:gd name="T13" fmla="*/ 29 h 65"/>
                <a:gd name="T14" fmla="*/ 55 w 56"/>
                <a:gd name="T15" fmla="*/ 37 h 65"/>
                <a:gd name="T16" fmla="*/ 56 w 56"/>
                <a:gd name="T17" fmla="*/ 44 h 65"/>
                <a:gd name="T18" fmla="*/ 53 w 56"/>
                <a:gd name="T19" fmla="*/ 53 h 65"/>
                <a:gd name="T20" fmla="*/ 48 w 56"/>
                <a:gd name="T21" fmla="*/ 60 h 65"/>
                <a:gd name="T22" fmla="*/ 39 w 56"/>
                <a:gd name="T23" fmla="*/ 64 h 65"/>
                <a:gd name="T24" fmla="*/ 29 w 56"/>
                <a:gd name="T25" fmla="*/ 65 h 65"/>
                <a:gd name="T26" fmla="*/ 13 w 56"/>
                <a:gd name="T27" fmla="*/ 63 h 65"/>
                <a:gd name="T28" fmla="*/ 5 w 56"/>
                <a:gd name="T29" fmla="*/ 59 h 65"/>
                <a:gd name="T30" fmla="*/ 0 w 56"/>
                <a:gd name="T31" fmla="*/ 52 h 65"/>
                <a:gd name="T32" fmla="*/ 23 w 56"/>
                <a:gd name="T33" fmla="*/ 45 h 65"/>
                <a:gd name="T34" fmla="*/ 23 w 56"/>
                <a:gd name="T35" fmla="*/ 52 h 65"/>
                <a:gd name="T36" fmla="*/ 24 w 56"/>
                <a:gd name="T37" fmla="*/ 53 h 65"/>
                <a:gd name="T38" fmla="*/ 27 w 56"/>
                <a:gd name="T39" fmla="*/ 53 h 65"/>
                <a:gd name="T40" fmla="*/ 31 w 56"/>
                <a:gd name="T41" fmla="*/ 52 h 65"/>
                <a:gd name="T42" fmla="*/ 33 w 56"/>
                <a:gd name="T43" fmla="*/ 48 h 65"/>
                <a:gd name="T44" fmla="*/ 31 w 56"/>
                <a:gd name="T45" fmla="*/ 44 h 65"/>
                <a:gd name="T46" fmla="*/ 16 w 56"/>
                <a:gd name="T47" fmla="*/ 38 h 65"/>
                <a:gd name="T48" fmla="*/ 5 w 56"/>
                <a:gd name="T49" fmla="*/ 33 h 65"/>
                <a:gd name="T50" fmla="*/ 1 w 56"/>
                <a:gd name="T51" fmla="*/ 20 h 65"/>
                <a:gd name="T52" fmla="*/ 1 w 56"/>
                <a:gd name="T53" fmla="*/ 16 h 65"/>
                <a:gd name="T54" fmla="*/ 4 w 56"/>
                <a:gd name="T55" fmla="*/ 8 h 65"/>
                <a:gd name="T56" fmla="*/ 11 w 56"/>
                <a:gd name="T57" fmla="*/ 3 h 65"/>
                <a:gd name="T58" fmla="*/ 27 w 56"/>
                <a:gd name="T59" fmla="*/ 0 h 65"/>
                <a:gd name="T60" fmla="*/ 35 w 56"/>
                <a:gd name="T61" fmla="*/ 0 h 65"/>
                <a:gd name="T62" fmla="*/ 45 w 56"/>
                <a:gd name="T63" fmla="*/ 3 h 65"/>
                <a:gd name="T64" fmla="*/ 52 w 56"/>
                <a:gd name="T65" fmla="*/ 8 h 65"/>
                <a:gd name="T66" fmla="*/ 55 w 56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5">
                  <a:moveTo>
                    <a:pt x="33" y="19"/>
                  </a:moveTo>
                  <a:lnTo>
                    <a:pt x="33" y="19"/>
                  </a:lnTo>
                  <a:lnTo>
                    <a:pt x="33" y="13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4" y="13"/>
                  </a:lnTo>
                  <a:lnTo>
                    <a:pt x="23" y="16"/>
                  </a:lnTo>
                  <a:lnTo>
                    <a:pt x="24" y="20"/>
                  </a:lnTo>
                  <a:lnTo>
                    <a:pt x="29" y="23"/>
                  </a:lnTo>
                  <a:lnTo>
                    <a:pt x="39" y="26"/>
                  </a:lnTo>
                  <a:lnTo>
                    <a:pt x="45" y="29"/>
                  </a:lnTo>
                  <a:lnTo>
                    <a:pt x="50" y="31"/>
                  </a:lnTo>
                  <a:lnTo>
                    <a:pt x="55" y="37"/>
                  </a:lnTo>
                  <a:lnTo>
                    <a:pt x="56" y="44"/>
                  </a:lnTo>
                  <a:lnTo>
                    <a:pt x="55" y="49"/>
                  </a:lnTo>
                  <a:lnTo>
                    <a:pt x="53" y="53"/>
                  </a:lnTo>
                  <a:lnTo>
                    <a:pt x="52" y="57"/>
                  </a:lnTo>
                  <a:lnTo>
                    <a:pt x="48" y="60"/>
                  </a:lnTo>
                  <a:lnTo>
                    <a:pt x="44" y="63"/>
                  </a:lnTo>
                  <a:lnTo>
                    <a:pt x="39" y="64"/>
                  </a:lnTo>
                  <a:lnTo>
                    <a:pt x="29" y="65"/>
                  </a:lnTo>
                  <a:lnTo>
                    <a:pt x="18" y="64"/>
                  </a:lnTo>
                  <a:lnTo>
                    <a:pt x="13" y="63"/>
                  </a:lnTo>
                  <a:lnTo>
                    <a:pt x="8" y="61"/>
                  </a:lnTo>
                  <a:lnTo>
                    <a:pt x="5" y="59"/>
                  </a:lnTo>
                  <a:lnTo>
                    <a:pt x="1" y="56"/>
                  </a:lnTo>
                  <a:lnTo>
                    <a:pt x="0" y="52"/>
                  </a:lnTo>
                  <a:lnTo>
                    <a:pt x="0" y="45"/>
                  </a:lnTo>
                  <a:lnTo>
                    <a:pt x="23" y="45"/>
                  </a:lnTo>
                  <a:lnTo>
                    <a:pt x="23" y="52"/>
                  </a:lnTo>
                  <a:lnTo>
                    <a:pt x="24" y="53"/>
                  </a:lnTo>
                  <a:lnTo>
                    <a:pt x="27" y="53"/>
                  </a:lnTo>
                  <a:lnTo>
                    <a:pt x="30" y="53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27" y="41"/>
                  </a:lnTo>
                  <a:lnTo>
                    <a:pt x="16" y="38"/>
                  </a:lnTo>
                  <a:lnTo>
                    <a:pt x="11" y="35"/>
                  </a:lnTo>
                  <a:lnTo>
                    <a:pt x="5" y="33"/>
                  </a:lnTo>
                  <a:lnTo>
                    <a:pt x="3" y="29"/>
                  </a:lnTo>
                  <a:lnTo>
                    <a:pt x="1" y="20"/>
                  </a:lnTo>
                  <a:lnTo>
                    <a:pt x="1" y="16"/>
                  </a:lnTo>
                  <a:lnTo>
                    <a:pt x="3" y="11"/>
                  </a:lnTo>
                  <a:lnTo>
                    <a:pt x="4" y="8"/>
                  </a:lnTo>
                  <a:lnTo>
                    <a:pt x="8" y="5"/>
                  </a:lnTo>
                  <a:lnTo>
                    <a:pt x="11" y="3"/>
                  </a:lnTo>
                  <a:lnTo>
                    <a:pt x="16" y="1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41" y="1"/>
                  </a:lnTo>
                  <a:lnTo>
                    <a:pt x="45" y="3"/>
                  </a:lnTo>
                  <a:lnTo>
                    <a:pt x="49" y="5"/>
                  </a:lnTo>
                  <a:lnTo>
                    <a:pt x="52" y="8"/>
                  </a:lnTo>
                  <a:lnTo>
                    <a:pt x="53" y="11"/>
                  </a:lnTo>
                  <a:lnTo>
                    <a:pt x="55" y="19"/>
                  </a:lnTo>
                  <a:lnTo>
                    <a:pt x="33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0" name="Rectangle 67"/>
            <p:cNvSpPr>
              <a:spLocks noChangeArrowheads="1"/>
            </p:cNvSpPr>
            <p:nvPr userDrawn="1"/>
          </p:nvSpPr>
          <p:spPr bwMode="auto">
            <a:xfrm>
              <a:off x="4046" y="4107"/>
              <a:ext cx="23" cy="62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buClr>
                  <a:schemeClr val="accent1"/>
                </a:buClr>
                <a:buSzPct val="80000"/>
                <a:buFont typeface="Wingdings" pitchFamily="2" charset="2"/>
                <a:buNone/>
                <a:defRPr/>
              </a:pPr>
              <a:endParaRPr lang="en-US">
                <a:latin typeface="Arial" pitchFamily="34" charset="0"/>
                <a:ea typeface="Arial Unicode MS" pitchFamily="34" charset="-128"/>
              </a:endParaRPr>
            </a:p>
          </p:txBody>
        </p:sp>
        <p:sp>
          <p:nvSpPr>
            <p:cNvPr id="31" name="Freeform 68"/>
            <p:cNvSpPr>
              <a:spLocks/>
            </p:cNvSpPr>
            <p:nvPr userDrawn="1"/>
          </p:nvSpPr>
          <p:spPr bwMode="auto">
            <a:xfrm>
              <a:off x="4087" y="4107"/>
              <a:ext cx="63" cy="62"/>
            </a:xfrm>
            <a:custGeom>
              <a:avLst/>
              <a:gdLst>
                <a:gd name="T0" fmla="*/ 0 w 63"/>
                <a:gd name="T1" fmla="*/ 0 h 62"/>
                <a:gd name="T2" fmla="*/ 30 w 63"/>
                <a:gd name="T3" fmla="*/ 0 h 62"/>
                <a:gd name="T4" fmla="*/ 44 w 63"/>
                <a:gd name="T5" fmla="*/ 38 h 62"/>
                <a:gd name="T6" fmla="*/ 44 w 63"/>
                <a:gd name="T7" fmla="*/ 38 h 62"/>
                <a:gd name="T8" fmla="*/ 44 w 63"/>
                <a:gd name="T9" fmla="*/ 0 h 62"/>
                <a:gd name="T10" fmla="*/ 63 w 63"/>
                <a:gd name="T11" fmla="*/ 0 h 62"/>
                <a:gd name="T12" fmla="*/ 63 w 63"/>
                <a:gd name="T13" fmla="*/ 62 h 62"/>
                <a:gd name="T14" fmla="*/ 33 w 63"/>
                <a:gd name="T15" fmla="*/ 62 h 62"/>
                <a:gd name="T16" fmla="*/ 20 w 63"/>
                <a:gd name="T17" fmla="*/ 26 h 62"/>
                <a:gd name="T18" fmla="*/ 20 w 63"/>
                <a:gd name="T19" fmla="*/ 26 h 62"/>
                <a:gd name="T20" fmla="*/ 20 w 63"/>
                <a:gd name="T21" fmla="*/ 62 h 62"/>
                <a:gd name="T22" fmla="*/ 0 w 63"/>
                <a:gd name="T23" fmla="*/ 62 h 62"/>
                <a:gd name="T24" fmla="*/ 0 w 63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" h="62">
                  <a:moveTo>
                    <a:pt x="0" y="0"/>
                  </a:moveTo>
                  <a:lnTo>
                    <a:pt x="30" y="0"/>
                  </a:lnTo>
                  <a:lnTo>
                    <a:pt x="44" y="38"/>
                  </a:lnTo>
                  <a:lnTo>
                    <a:pt x="44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33" y="62"/>
                  </a:lnTo>
                  <a:lnTo>
                    <a:pt x="20" y="26"/>
                  </a:lnTo>
                  <a:lnTo>
                    <a:pt x="20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2" name="Freeform 69"/>
            <p:cNvSpPr>
              <a:spLocks/>
            </p:cNvSpPr>
            <p:nvPr userDrawn="1"/>
          </p:nvSpPr>
          <p:spPr bwMode="auto">
            <a:xfrm>
              <a:off x="4168" y="4107"/>
              <a:ext cx="48" cy="62"/>
            </a:xfrm>
            <a:custGeom>
              <a:avLst/>
              <a:gdLst>
                <a:gd name="T0" fmla="*/ 0 w 48"/>
                <a:gd name="T1" fmla="*/ 0 h 62"/>
                <a:gd name="T2" fmla="*/ 48 w 48"/>
                <a:gd name="T3" fmla="*/ 0 h 62"/>
                <a:gd name="T4" fmla="*/ 48 w 48"/>
                <a:gd name="T5" fmla="*/ 15 h 62"/>
                <a:gd name="T6" fmla="*/ 23 w 48"/>
                <a:gd name="T7" fmla="*/ 15 h 62"/>
                <a:gd name="T8" fmla="*/ 23 w 48"/>
                <a:gd name="T9" fmla="*/ 25 h 62"/>
                <a:gd name="T10" fmla="*/ 45 w 48"/>
                <a:gd name="T11" fmla="*/ 25 h 62"/>
                <a:gd name="T12" fmla="*/ 45 w 48"/>
                <a:gd name="T13" fmla="*/ 37 h 62"/>
                <a:gd name="T14" fmla="*/ 23 w 48"/>
                <a:gd name="T15" fmla="*/ 37 h 62"/>
                <a:gd name="T16" fmla="*/ 23 w 48"/>
                <a:gd name="T17" fmla="*/ 48 h 62"/>
                <a:gd name="T18" fmla="*/ 48 w 48"/>
                <a:gd name="T19" fmla="*/ 48 h 62"/>
                <a:gd name="T20" fmla="*/ 48 w 48"/>
                <a:gd name="T21" fmla="*/ 62 h 62"/>
                <a:gd name="T22" fmla="*/ 0 w 48"/>
                <a:gd name="T23" fmla="*/ 62 h 62"/>
                <a:gd name="T24" fmla="*/ 0 w 48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" h="62">
                  <a:moveTo>
                    <a:pt x="0" y="0"/>
                  </a:moveTo>
                  <a:lnTo>
                    <a:pt x="48" y="0"/>
                  </a:lnTo>
                  <a:lnTo>
                    <a:pt x="48" y="15"/>
                  </a:lnTo>
                  <a:lnTo>
                    <a:pt x="23" y="15"/>
                  </a:lnTo>
                  <a:lnTo>
                    <a:pt x="23" y="25"/>
                  </a:lnTo>
                  <a:lnTo>
                    <a:pt x="45" y="25"/>
                  </a:lnTo>
                  <a:lnTo>
                    <a:pt x="45" y="37"/>
                  </a:lnTo>
                  <a:lnTo>
                    <a:pt x="23" y="37"/>
                  </a:lnTo>
                  <a:lnTo>
                    <a:pt x="23" y="48"/>
                  </a:lnTo>
                  <a:lnTo>
                    <a:pt x="48" y="48"/>
                  </a:lnTo>
                  <a:lnTo>
                    <a:pt x="48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3" name="Freeform 70"/>
            <p:cNvSpPr>
              <a:spLocks/>
            </p:cNvSpPr>
            <p:nvPr userDrawn="1"/>
          </p:nvSpPr>
          <p:spPr bwMode="auto">
            <a:xfrm>
              <a:off x="4228" y="4106"/>
              <a:ext cx="56" cy="65"/>
            </a:xfrm>
            <a:custGeom>
              <a:avLst/>
              <a:gdLst>
                <a:gd name="T0" fmla="*/ 33 w 56"/>
                <a:gd name="T1" fmla="*/ 19 h 65"/>
                <a:gd name="T2" fmla="*/ 31 w 56"/>
                <a:gd name="T3" fmla="*/ 13 h 65"/>
                <a:gd name="T4" fmla="*/ 27 w 56"/>
                <a:gd name="T5" fmla="*/ 12 h 65"/>
                <a:gd name="T6" fmla="*/ 24 w 56"/>
                <a:gd name="T7" fmla="*/ 13 h 65"/>
                <a:gd name="T8" fmla="*/ 23 w 56"/>
                <a:gd name="T9" fmla="*/ 16 h 65"/>
                <a:gd name="T10" fmla="*/ 29 w 56"/>
                <a:gd name="T11" fmla="*/ 23 h 65"/>
                <a:gd name="T12" fmla="*/ 45 w 56"/>
                <a:gd name="T13" fmla="*/ 29 h 65"/>
                <a:gd name="T14" fmla="*/ 55 w 56"/>
                <a:gd name="T15" fmla="*/ 37 h 65"/>
                <a:gd name="T16" fmla="*/ 56 w 56"/>
                <a:gd name="T17" fmla="*/ 44 h 65"/>
                <a:gd name="T18" fmla="*/ 53 w 56"/>
                <a:gd name="T19" fmla="*/ 53 h 65"/>
                <a:gd name="T20" fmla="*/ 48 w 56"/>
                <a:gd name="T21" fmla="*/ 60 h 65"/>
                <a:gd name="T22" fmla="*/ 40 w 56"/>
                <a:gd name="T23" fmla="*/ 64 h 65"/>
                <a:gd name="T24" fmla="*/ 29 w 56"/>
                <a:gd name="T25" fmla="*/ 65 h 65"/>
                <a:gd name="T26" fmla="*/ 12 w 56"/>
                <a:gd name="T27" fmla="*/ 63 h 65"/>
                <a:gd name="T28" fmla="*/ 4 w 56"/>
                <a:gd name="T29" fmla="*/ 59 h 65"/>
                <a:gd name="T30" fmla="*/ 0 w 56"/>
                <a:gd name="T31" fmla="*/ 52 h 65"/>
                <a:gd name="T32" fmla="*/ 22 w 56"/>
                <a:gd name="T33" fmla="*/ 45 h 65"/>
                <a:gd name="T34" fmla="*/ 23 w 56"/>
                <a:gd name="T35" fmla="*/ 52 h 65"/>
                <a:gd name="T36" fmla="*/ 24 w 56"/>
                <a:gd name="T37" fmla="*/ 53 h 65"/>
                <a:gd name="T38" fmla="*/ 27 w 56"/>
                <a:gd name="T39" fmla="*/ 53 h 65"/>
                <a:gd name="T40" fmla="*/ 31 w 56"/>
                <a:gd name="T41" fmla="*/ 52 h 65"/>
                <a:gd name="T42" fmla="*/ 33 w 56"/>
                <a:gd name="T43" fmla="*/ 48 h 65"/>
                <a:gd name="T44" fmla="*/ 31 w 56"/>
                <a:gd name="T45" fmla="*/ 44 h 65"/>
                <a:gd name="T46" fmla="*/ 16 w 56"/>
                <a:gd name="T47" fmla="*/ 38 h 65"/>
                <a:gd name="T48" fmla="*/ 5 w 56"/>
                <a:gd name="T49" fmla="*/ 33 h 65"/>
                <a:gd name="T50" fmla="*/ 0 w 56"/>
                <a:gd name="T51" fmla="*/ 20 h 65"/>
                <a:gd name="T52" fmla="*/ 1 w 56"/>
                <a:gd name="T53" fmla="*/ 16 h 65"/>
                <a:gd name="T54" fmla="*/ 4 w 56"/>
                <a:gd name="T55" fmla="*/ 8 h 65"/>
                <a:gd name="T56" fmla="*/ 11 w 56"/>
                <a:gd name="T57" fmla="*/ 3 h 65"/>
                <a:gd name="T58" fmla="*/ 27 w 56"/>
                <a:gd name="T59" fmla="*/ 0 h 65"/>
                <a:gd name="T60" fmla="*/ 34 w 56"/>
                <a:gd name="T61" fmla="*/ 0 h 65"/>
                <a:gd name="T62" fmla="*/ 45 w 56"/>
                <a:gd name="T63" fmla="*/ 3 h 65"/>
                <a:gd name="T64" fmla="*/ 52 w 56"/>
                <a:gd name="T65" fmla="*/ 8 h 65"/>
                <a:gd name="T66" fmla="*/ 55 w 56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5">
                  <a:moveTo>
                    <a:pt x="33" y="19"/>
                  </a:moveTo>
                  <a:lnTo>
                    <a:pt x="33" y="19"/>
                  </a:lnTo>
                  <a:lnTo>
                    <a:pt x="31" y="13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4" y="13"/>
                  </a:lnTo>
                  <a:lnTo>
                    <a:pt x="23" y="16"/>
                  </a:lnTo>
                  <a:lnTo>
                    <a:pt x="24" y="20"/>
                  </a:lnTo>
                  <a:lnTo>
                    <a:pt x="29" y="23"/>
                  </a:lnTo>
                  <a:lnTo>
                    <a:pt x="40" y="26"/>
                  </a:lnTo>
                  <a:lnTo>
                    <a:pt x="45" y="29"/>
                  </a:lnTo>
                  <a:lnTo>
                    <a:pt x="50" y="31"/>
                  </a:lnTo>
                  <a:lnTo>
                    <a:pt x="55" y="37"/>
                  </a:lnTo>
                  <a:lnTo>
                    <a:pt x="56" y="44"/>
                  </a:lnTo>
                  <a:lnTo>
                    <a:pt x="55" y="49"/>
                  </a:lnTo>
                  <a:lnTo>
                    <a:pt x="53" y="53"/>
                  </a:lnTo>
                  <a:lnTo>
                    <a:pt x="50" y="57"/>
                  </a:lnTo>
                  <a:lnTo>
                    <a:pt x="48" y="60"/>
                  </a:lnTo>
                  <a:lnTo>
                    <a:pt x="44" y="63"/>
                  </a:lnTo>
                  <a:lnTo>
                    <a:pt x="40" y="64"/>
                  </a:lnTo>
                  <a:lnTo>
                    <a:pt x="29" y="65"/>
                  </a:lnTo>
                  <a:lnTo>
                    <a:pt x="18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4" y="59"/>
                  </a:lnTo>
                  <a:lnTo>
                    <a:pt x="1" y="56"/>
                  </a:lnTo>
                  <a:lnTo>
                    <a:pt x="0" y="52"/>
                  </a:lnTo>
                  <a:lnTo>
                    <a:pt x="0" y="45"/>
                  </a:lnTo>
                  <a:lnTo>
                    <a:pt x="22" y="45"/>
                  </a:lnTo>
                  <a:lnTo>
                    <a:pt x="23" y="52"/>
                  </a:lnTo>
                  <a:lnTo>
                    <a:pt x="24" y="53"/>
                  </a:lnTo>
                  <a:lnTo>
                    <a:pt x="27" y="53"/>
                  </a:lnTo>
                  <a:lnTo>
                    <a:pt x="30" y="53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27" y="41"/>
                  </a:lnTo>
                  <a:lnTo>
                    <a:pt x="16" y="38"/>
                  </a:lnTo>
                  <a:lnTo>
                    <a:pt x="11" y="35"/>
                  </a:lnTo>
                  <a:lnTo>
                    <a:pt x="5" y="33"/>
                  </a:lnTo>
                  <a:lnTo>
                    <a:pt x="1" y="29"/>
                  </a:lnTo>
                  <a:lnTo>
                    <a:pt x="0" y="20"/>
                  </a:lnTo>
                  <a:lnTo>
                    <a:pt x="1" y="16"/>
                  </a:lnTo>
                  <a:lnTo>
                    <a:pt x="3" y="11"/>
                  </a:lnTo>
                  <a:lnTo>
                    <a:pt x="4" y="8"/>
                  </a:lnTo>
                  <a:lnTo>
                    <a:pt x="7" y="5"/>
                  </a:lnTo>
                  <a:lnTo>
                    <a:pt x="11" y="3"/>
                  </a:lnTo>
                  <a:lnTo>
                    <a:pt x="15" y="1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1"/>
                  </a:lnTo>
                  <a:lnTo>
                    <a:pt x="45" y="3"/>
                  </a:lnTo>
                  <a:lnTo>
                    <a:pt x="49" y="5"/>
                  </a:lnTo>
                  <a:lnTo>
                    <a:pt x="52" y="8"/>
                  </a:lnTo>
                  <a:lnTo>
                    <a:pt x="53" y="11"/>
                  </a:lnTo>
                  <a:lnTo>
                    <a:pt x="55" y="19"/>
                  </a:lnTo>
                  <a:lnTo>
                    <a:pt x="33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4" name="Freeform 71"/>
            <p:cNvSpPr>
              <a:spLocks/>
            </p:cNvSpPr>
            <p:nvPr userDrawn="1"/>
          </p:nvSpPr>
          <p:spPr bwMode="auto">
            <a:xfrm>
              <a:off x="4295" y="4106"/>
              <a:ext cx="56" cy="65"/>
            </a:xfrm>
            <a:custGeom>
              <a:avLst/>
              <a:gdLst>
                <a:gd name="T0" fmla="*/ 33 w 56"/>
                <a:gd name="T1" fmla="*/ 19 h 65"/>
                <a:gd name="T2" fmla="*/ 33 w 56"/>
                <a:gd name="T3" fmla="*/ 13 h 65"/>
                <a:gd name="T4" fmla="*/ 27 w 56"/>
                <a:gd name="T5" fmla="*/ 12 h 65"/>
                <a:gd name="T6" fmla="*/ 24 w 56"/>
                <a:gd name="T7" fmla="*/ 13 h 65"/>
                <a:gd name="T8" fmla="*/ 23 w 56"/>
                <a:gd name="T9" fmla="*/ 16 h 65"/>
                <a:gd name="T10" fmla="*/ 29 w 56"/>
                <a:gd name="T11" fmla="*/ 23 h 65"/>
                <a:gd name="T12" fmla="*/ 46 w 56"/>
                <a:gd name="T13" fmla="*/ 29 h 65"/>
                <a:gd name="T14" fmla="*/ 55 w 56"/>
                <a:gd name="T15" fmla="*/ 37 h 65"/>
                <a:gd name="T16" fmla="*/ 56 w 56"/>
                <a:gd name="T17" fmla="*/ 44 h 65"/>
                <a:gd name="T18" fmla="*/ 55 w 56"/>
                <a:gd name="T19" fmla="*/ 53 h 65"/>
                <a:gd name="T20" fmla="*/ 48 w 56"/>
                <a:gd name="T21" fmla="*/ 60 h 65"/>
                <a:gd name="T22" fmla="*/ 40 w 56"/>
                <a:gd name="T23" fmla="*/ 64 h 65"/>
                <a:gd name="T24" fmla="*/ 30 w 56"/>
                <a:gd name="T25" fmla="*/ 65 h 65"/>
                <a:gd name="T26" fmla="*/ 14 w 56"/>
                <a:gd name="T27" fmla="*/ 63 h 65"/>
                <a:gd name="T28" fmla="*/ 5 w 56"/>
                <a:gd name="T29" fmla="*/ 59 h 65"/>
                <a:gd name="T30" fmla="*/ 0 w 56"/>
                <a:gd name="T31" fmla="*/ 52 h 65"/>
                <a:gd name="T32" fmla="*/ 23 w 56"/>
                <a:gd name="T33" fmla="*/ 45 h 65"/>
                <a:gd name="T34" fmla="*/ 24 w 56"/>
                <a:gd name="T35" fmla="*/ 52 h 65"/>
                <a:gd name="T36" fmla="*/ 26 w 56"/>
                <a:gd name="T37" fmla="*/ 53 h 65"/>
                <a:gd name="T38" fmla="*/ 27 w 56"/>
                <a:gd name="T39" fmla="*/ 53 h 65"/>
                <a:gd name="T40" fmla="*/ 31 w 56"/>
                <a:gd name="T41" fmla="*/ 52 h 65"/>
                <a:gd name="T42" fmla="*/ 33 w 56"/>
                <a:gd name="T43" fmla="*/ 48 h 65"/>
                <a:gd name="T44" fmla="*/ 31 w 56"/>
                <a:gd name="T45" fmla="*/ 44 h 65"/>
                <a:gd name="T46" fmla="*/ 16 w 56"/>
                <a:gd name="T47" fmla="*/ 38 h 65"/>
                <a:gd name="T48" fmla="*/ 5 w 56"/>
                <a:gd name="T49" fmla="*/ 33 h 65"/>
                <a:gd name="T50" fmla="*/ 1 w 56"/>
                <a:gd name="T51" fmla="*/ 20 h 65"/>
                <a:gd name="T52" fmla="*/ 1 w 56"/>
                <a:gd name="T53" fmla="*/ 16 h 65"/>
                <a:gd name="T54" fmla="*/ 5 w 56"/>
                <a:gd name="T55" fmla="*/ 8 h 65"/>
                <a:gd name="T56" fmla="*/ 12 w 56"/>
                <a:gd name="T57" fmla="*/ 3 h 65"/>
                <a:gd name="T58" fmla="*/ 27 w 56"/>
                <a:gd name="T59" fmla="*/ 0 h 65"/>
                <a:gd name="T60" fmla="*/ 35 w 56"/>
                <a:gd name="T61" fmla="*/ 0 h 65"/>
                <a:gd name="T62" fmla="*/ 46 w 56"/>
                <a:gd name="T63" fmla="*/ 3 h 65"/>
                <a:gd name="T64" fmla="*/ 52 w 56"/>
                <a:gd name="T65" fmla="*/ 8 h 65"/>
                <a:gd name="T66" fmla="*/ 55 w 56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5">
                  <a:moveTo>
                    <a:pt x="33" y="19"/>
                  </a:moveTo>
                  <a:lnTo>
                    <a:pt x="33" y="19"/>
                  </a:lnTo>
                  <a:lnTo>
                    <a:pt x="33" y="13"/>
                  </a:lnTo>
                  <a:lnTo>
                    <a:pt x="31" y="12"/>
                  </a:lnTo>
                  <a:lnTo>
                    <a:pt x="27" y="12"/>
                  </a:lnTo>
                  <a:lnTo>
                    <a:pt x="24" y="13"/>
                  </a:lnTo>
                  <a:lnTo>
                    <a:pt x="23" y="16"/>
                  </a:lnTo>
                  <a:lnTo>
                    <a:pt x="24" y="20"/>
                  </a:lnTo>
                  <a:lnTo>
                    <a:pt x="29" y="23"/>
                  </a:lnTo>
                  <a:lnTo>
                    <a:pt x="40" y="26"/>
                  </a:lnTo>
                  <a:lnTo>
                    <a:pt x="46" y="29"/>
                  </a:lnTo>
                  <a:lnTo>
                    <a:pt x="50" y="31"/>
                  </a:lnTo>
                  <a:lnTo>
                    <a:pt x="55" y="37"/>
                  </a:lnTo>
                  <a:lnTo>
                    <a:pt x="56" y="44"/>
                  </a:lnTo>
                  <a:lnTo>
                    <a:pt x="56" y="49"/>
                  </a:lnTo>
                  <a:lnTo>
                    <a:pt x="55" y="53"/>
                  </a:lnTo>
                  <a:lnTo>
                    <a:pt x="52" y="57"/>
                  </a:lnTo>
                  <a:lnTo>
                    <a:pt x="48" y="60"/>
                  </a:lnTo>
                  <a:lnTo>
                    <a:pt x="44" y="63"/>
                  </a:lnTo>
                  <a:lnTo>
                    <a:pt x="40" y="64"/>
                  </a:lnTo>
                  <a:lnTo>
                    <a:pt x="30" y="65"/>
                  </a:lnTo>
                  <a:lnTo>
                    <a:pt x="19" y="64"/>
                  </a:lnTo>
                  <a:lnTo>
                    <a:pt x="14" y="63"/>
                  </a:lnTo>
                  <a:lnTo>
                    <a:pt x="9" y="61"/>
                  </a:lnTo>
                  <a:lnTo>
                    <a:pt x="5" y="59"/>
                  </a:lnTo>
                  <a:lnTo>
                    <a:pt x="3" y="56"/>
                  </a:lnTo>
                  <a:lnTo>
                    <a:pt x="0" y="52"/>
                  </a:lnTo>
                  <a:lnTo>
                    <a:pt x="0" y="45"/>
                  </a:lnTo>
                  <a:lnTo>
                    <a:pt x="23" y="45"/>
                  </a:lnTo>
                  <a:lnTo>
                    <a:pt x="24" y="52"/>
                  </a:lnTo>
                  <a:lnTo>
                    <a:pt x="26" y="53"/>
                  </a:lnTo>
                  <a:lnTo>
                    <a:pt x="27" y="53"/>
                  </a:lnTo>
                  <a:lnTo>
                    <a:pt x="30" y="53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29" y="41"/>
                  </a:lnTo>
                  <a:lnTo>
                    <a:pt x="16" y="38"/>
                  </a:lnTo>
                  <a:lnTo>
                    <a:pt x="11" y="35"/>
                  </a:lnTo>
                  <a:lnTo>
                    <a:pt x="5" y="33"/>
                  </a:lnTo>
                  <a:lnTo>
                    <a:pt x="3" y="29"/>
                  </a:lnTo>
                  <a:lnTo>
                    <a:pt x="1" y="20"/>
                  </a:lnTo>
                  <a:lnTo>
                    <a:pt x="1" y="16"/>
                  </a:lnTo>
                  <a:lnTo>
                    <a:pt x="3" y="11"/>
                  </a:lnTo>
                  <a:lnTo>
                    <a:pt x="5" y="8"/>
                  </a:lnTo>
                  <a:lnTo>
                    <a:pt x="8" y="5"/>
                  </a:lnTo>
                  <a:lnTo>
                    <a:pt x="12" y="3"/>
                  </a:lnTo>
                  <a:lnTo>
                    <a:pt x="16" y="1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41" y="1"/>
                  </a:lnTo>
                  <a:lnTo>
                    <a:pt x="46" y="3"/>
                  </a:lnTo>
                  <a:lnTo>
                    <a:pt x="49" y="5"/>
                  </a:lnTo>
                  <a:lnTo>
                    <a:pt x="52" y="8"/>
                  </a:lnTo>
                  <a:lnTo>
                    <a:pt x="53" y="11"/>
                  </a:lnTo>
                  <a:lnTo>
                    <a:pt x="55" y="19"/>
                  </a:lnTo>
                  <a:lnTo>
                    <a:pt x="33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5" name="Freeform 72"/>
            <p:cNvSpPr>
              <a:spLocks/>
            </p:cNvSpPr>
            <p:nvPr userDrawn="1"/>
          </p:nvSpPr>
          <p:spPr bwMode="auto">
            <a:xfrm>
              <a:off x="4366" y="4107"/>
              <a:ext cx="48" cy="62"/>
            </a:xfrm>
            <a:custGeom>
              <a:avLst/>
              <a:gdLst>
                <a:gd name="T0" fmla="*/ 0 w 48"/>
                <a:gd name="T1" fmla="*/ 0 h 62"/>
                <a:gd name="T2" fmla="*/ 48 w 48"/>
                <a:gd name="T3" fmla="*/ 0 h 62"/>
                <a:gd name="T4" fmla="*/ 48 w 48"/>
                <a:gd name="T5" fmla="*/ 15 h 62"/>
                <a:gd name="T6" fmla="*/ 23 w 48"/>
                <a:gd name="T7" fmla="*/ 15 h 62"/>
                <a:gd name="T8" fmla="*/ 23 w 48"/>
                <a:gd name="T9" fmla="*/ 25 h 62"/>
                <a:gd name="T10" fmla="*/ 45 w 48"/>
                <a:gd name="T11" fmla="*/ 25 h 62"/>
                <a:gd name="T12" fmla="*/ 45 w 48"/>
                <a:gd name="T13" fmla="*/ 37 h 62"/>
                <a:gd name="T14" fmla="*/ 23 w 48"/>
                <a:gd name="T15" fmla="*/ 37 h 62"/>
                <a:gd name="T16" fmla="*/ 23 w 48"/>
                <a:gd name="T17" fmla="*/ 48 h 62"/>
                <a:gd name="T18" fmla="*/ 48 w 48"/>
                <a:gd name="T19" fmla="*/ 48 h 62"/>
                <a:gd name="T20" fmla="*/ 48 w 48"/>
                <a:gd name="T21" fmla="*/ 62 h 62"/>
                <a:gd name="T22" fmla="*/ 0 w 48"/>
                <a:gd name="T23" fmla="*/ 62 h 62"/>
                <a:gd name="T24" fmla="*/ 0 w 48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" h="62">
                  <a:moveTo>
                    <a:pt x="0" y="0"/>
                  </a:moveTo>
                  <a:lnTo>
                    <a:pt x="48" y="0"/>
                  </a:lnTo>
                  <a:lnTo>
                    <a:pt x="48" y="15"/>
                  </a:lnTo>
                  <a:lnTo>
                    <a:pt x="23" y="15"/>
                  </a:lnTo>
                  <a:lnTo>
                    <a:pt x="23" y="25"/>
                  </a:lnTo>
                  <a:lnTo>
                    <a:pt x="45" y="25"/>
                  </a:lnTo>
                  <a:lnTo>
                    <a:pt x="45" y="37"/>
                  </a:lnTo>
                  <a:lnTo>
                    <a:pt x="23" y="37"/>
                  </a:lnTo>
                  <a:lnTo>
                    <a:pt x="23" y="48"/>
                  </a:lnTo>
                  <a:lnTo>
                    <a:pt x="48" y="48"/>
                  </a:lnTo>
                  <a:lnTo>
                    <a:pt x="48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6" name="Freeform 73"/>
            <p:cNvSpPr>
              <a:spLocks/>
            </p:cNvSpPr>
            <p:nvPr userDrawn="1"/>
          </p:nvSpPr>
          <p:spPr bwMode="auto">
            <a:xfrm>
              <a:off x="4426" y="4106"/>
              <a:ext cx="55" cy="65"/>
            </a:xfrm>
            <a:custGeom>
              <a:avLst/>
              <a:gdLst>
                <a:gd name="T0" fmla="*/ 33 w 55"/>
                <a:gd name="T1" fmla="*/ 19 h 65"/>
                <a:gd name="T2" fmla="*/ 32 w 55"/>
                <a:gd name="T3" fmla="*/ 13 h 65"/>
                <a:gd name="T4" fmla="*/ 28 w 55"/>
                <a:gd name="T5" fmla="*/ 12 h 65"/>
                <a:gd name="T6" fmla="*/ 25 w 55"/>
                <a:gd name="T7" fmla="*/ 13 h 65"/>
                <a:gd name="T8" fmla="*/ 23 w 55"/>
                <a:gd name="T9" fmla="*/ 16 h 65"/>
                <a:gd name="T10" fmla="*/ 28 w 55"/>
                <a:gd name="T11" fmla="*/ 23 h 65"/>
                <a:gd name="T12" fmla="*/ 45 w 55"/>
                <a:gd name="T13" fmla="*/ 29 h 65"/>
                <a:gd name="T14" fmla="*/ 54 w 55"/>
                <a:gd name="T15" fmla="*/ 37 h 65"/>
                <a:gd name="T16" fmla="*/ 55 w 55"/>
                <a:gd name="T17" fmla="*/ 44 h 65"/>
                <a:gd name="T18" fmla="*/ 54 w 55"/>
                <a:gd name="T19" fmla="*/ 53 h 65"/>
                <a:gd name="T20" fmla="*/ 48 w 55"/>
                <a:gd name="T21" fmla="*/ 60 h 65"/>
                <a:gd name="T22" fmla="*/ 38 w 55"/>
                <a:gd name="T23" fmla="*/ 64 h 65"/>
                <a:gd name="T24" fmla="*/ 29 w 55"/>
                <a:gd name="T25" fmla="*/ 65 h 65"/>
                <a:gd name="T26" fmla="*/ 12 w 55"/>
                <a:gd name="T27" fmla="*/ 63 h 65"/>
                <a:gd name="T28" fmla="*/ 4 w 55"/>
                <a:gd name="T29" fmla="*/ 59 h 65"/>
                <a:gd name="T30" fmla="*/ 0 w 55"/>
                <a:gd name="T31" fmla="*/ 52 h 65"/>
                <a:gd name="T32" fmla="*/ 22 w 55"/>
                <a:gd name="T33" fmla="*/ 45 h 65"/>
                <a:gd name="T34" fmla="*/ 23 w 55"/>
                <a:gd name="T35" fmla="*/ 52 h 65"/>
                <a:gd name="T36" fmla="*/ 25 w 55"/>
                <a:gd name="T37" fmla="*/ 53 h 65"/>
                <a:gd name="T38" fmla="*/ 28 w 55"/>
                <a:gd name="T39" fmla="*/ 53 h 65"/>
                <a:gd name="T40" fmla="*/ 30 w 55"/>
                <a:gd name="T41" fmla="*/ 52 h 65"/>
                <a:gd name="T42" fmla="*/ 33 w 55"/>
                <a:gd name="T43" fmla="*/ 48 h 65"/>
                <a:gd name="T44" fmla="*/ 32 w 55"/>
                <a:gd name="T45" fmla="*/ 44 h 65"/>
                <a:gd name="T46" fmla="*/ 17 w 55"/>
                <a:gd name="T47" fmla="*/ 38 h 65"/>
                <a:gd name="T48" fmla="*/ 6 w 55"/>
                <a:gd name="T49" fmla="*/ 33 h 65"/>
                <a:gd name="T50" fmla="*/ 0 w 55"/>
                <a:gd name="T51" fmla="*/ 20 h 65"/>
                <a:gd name="T52" fmla="*/ 0 w 55"/>
                <a:gd name="T53" fmla="*/ 16 h 65"/>
                <a:gd name="T54" fmla="*/ 4 w 55"/>
                <a:gd name="T55" fmla="*/ 8 h 65"/>
                <a:gd name="T56" fmla="*/ 11 w 55"/>
                <a:gd name="T57" fmla="*/ 3 h 65"/>
                <a:gd name="T58" fmla="*/ 28 w 55"/>
                <a:gd name="T59" fmla="*/ 0 h 65"/>
                <a:gd name="T60" fmla="*/ 34 w 55"/>
                <a:gd name="T61" fmla="*/ 0 h 65"/>
                <a:gd name="T62" fmla="*/ 45 w 55"/>
                <a:gd name="T63" fmla="*/ 3 h 65"/>
                <a:gd name="T64" fmla="*/ 51 w 55"/>
                <a:gd name="T65" fmla="*/ 8 h 65"/>
                <a:gd name="T66" fmla="*/ 54 w 55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5" h="65">
                  <a:moveTo>
                    <a:pt x="33" y="19"/>
                  </a:moveTo>
                  <a:lnTo>
                    <a:pt x="33" y="19"/>
                  </a:lnTo>
                  <a:lnTo>
                    <a:pt x="32" y="13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5" y="13"/>
                  </a:lnTo>
                  <a:lnTo>
                    <a:pt x="23" y="16"/>
                  </a:lnTo>
                  <a:lnTo>
                    <a:pt x="25" y="20"/>
                  </a:lnTo>
                  <a:lnTo>
                    <a:pt x="28" y="23"/>
                  </a:lnTo>
                  <a:lnTo>
                    <a:pt x="40" y="26"/>
                  </a:lnTo>
                  <a:lnTo>
                    <a:pt x="45" y="29"/>
                  </a:lnTo>
                  <a:lnTo>
                    <a:pt x="51" y="31"/>
                  </a:lnTo>
                  <a:lnTo>
                    <a:pt x="54" y="37"/>
                  </a:lnTo>
                  <a:lnTo>
                    <a:pt x="55" y="44"/>
                  </a:lnTo>
                  <a:lnTo>
                    <a:pt x="55" y="49"/>
                  </a:lnTo>
                  <a:lnTo>
                    <a:pt x="54" y="53"/>
                  </a:lnTo>
                  <a:lnTo>
                    <a:pt x="51" y="57"/>
                  </a:lnTo>
                  <a:lnTo>
                    <a:pt x="48" y="60"/>
                  </a:lnTo>
                  <a:lnTo>
                    <a:pt x="44" y="63"/>
                  </a:lnTo>
                  <a:lnTo>
                    <a:pt x="38" y="64"/>
                  </a:lnTo>
                  <a:lnTo>
                    <a:pt x="29" y="65"/>
                  </a:lnTo>
                  <a:lnTo>
                    <a:pt x="18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4" y="59"/>
                  </a:lnTo>
                  <a:lnTo>
                    <a:pt x="2" y="56"/>
                  </a:lnTo>
                  <a:lnTo>
                    <a:pt x="0" y="52"/>
                  </a:lnTo>
                  <a:lnTo>
                    <a:pt x="0" y="45"/>
                  </a:lnTo>
                  <a:lnTo>
                    <a:pt x="22" y="45"/>
                  </a:lnTo>
                  <a:lnTo>
                    <a:pt x="23" y="52"/>
                  </a:lnTo>
                  <a:lnTo>
                    <a:pt x="25" y="53"/>
                  </a:lnTo>
                  <a:lnTo>
                    <a:pt x="28" y="53"/>
                  </a:lnTo>
                  <a:lnTo>
                    <a:pt x="29" y="53"/>
                  </a:lnTo>
                  <a:lnTo>
                    <a:pt x="30" y="52"/>
                  </a:lnTo>
                  <a:lnTo>
                    <a:pt x="32" y="50"/>
                  </a:lnTo>
                  <a:lnTo>
                    <a:pt x="33" y="48"/>
                  </a:lnTo>
                  <a:lnTo>
                    <a:pt x="32" y="44"/>
                  </a:lnTo>
                  <a:lnTo>
                    <a:pt x="28" y="41"/>
                  </a:lnTo>
                  <a:lnTo>
                    <a:pt x="17" y="38"/>
                  </a:lnTo>
                  <a:lnTo>
                    <a:pt x="11" y="35"/>
                  </a:lnTo>
                  <a:lnTo>
                    <a:pt x="6" y="33"/>
                  </a:lnTo>
                  <a:lnTo>
                    <a:pt x="2" y="29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2" y="11"/>
                  </a:lnTo>
                  <a:lnTo>
                    <a:pt x="4" y="8"/>
                  </a:lnTo>
                  <a:lnTo>
                    <a:pt x="7" y="5"/>
                  </a:lnTo>
                  <a:lnTo>
                    <a:pt x="11" y="3"/>
                  </a:lnTo>
                  <a:lnTo>
                    <a:pt x="15" y="1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41" y="1"/>
                  </a:lnTo>
                  <a:lnTo>
                    <a:pt x="45" y="3"/>
                  </a:lnTo>
                  <a:lnTo>
                    <a:pt x="49" y="5"/>
                  </a:lnTo>
                  <a:lnTo>
                    <a:pt x="51" y="8"/>
                  </a:lnTo>
                  <a:lnTo>
                    <a:pt x="54" y="11"/>
                  </a:lnTo>
                  <a:lnTo>
                    <a:pt x="54" y="19"/>
                  </a:lnTo>
                  <a:lnTo>
                    <a:pt x="33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7" name="Freeform 74"/>
            <p:cNvSpPr>
              <a:spLocks noEditPoints="1"/>
            </p:cNvSpPr>
            <p:nvPr userDrawn="1"/>
          </p:nvSpPr>
          <p:spPr bwMode="auto">
            <a:xfrm>
              <a:off x="4540" y="4107"/>
              <a:ext cx="59" cy="62"/>
            </a:xfrm>
            <a:custGeom>
              <a:avLst/>
              <a:gdLst>
                <a:gd name="T0" fmla="*/ 23 w 59"/>
                <a:gd name="T1" fmla="*/ 12 h 62"/>
                <a:gd name="T2" fmla="*/ 27 w 59"/>
                <a:gd name="T3" fmla="*/ 12 h 62"/>
                <a:gd name="T4" fmla="*/ 27 w 59"/>
                <a:gd name="T5" fmla="*/ 12 h 62"/>
                <a:gd name="T6" fmla="*/ 30 w 59"/>
                <a:gd name="T7" fmla="*/ 12 h 62"/>
                <a:gd name="T8" fmla="*/ 31 w 59"/>
                <a:gd name="T9" fmla="*/ 14 h 62"/>
                <a:gd name="T10" fmla="*/ 33 w 59"/>
                <a:gd name="T11" fmla="*/ 15 h 62"/>
                <a:gd name="T12" fmla="*/ 33 w 59"/>
                <a:gd name="T13" fmla="*/ 18 h 62"/>
                <a:gd name="T14" fmla="*/ 33 w 59"/>
                <a:gd name="T15" fmla="*/ 18 h 62"/>
                <a:gd name="T16" fmla="*/ 33 w 59"/>
                <a:gd name="T17" fmla="*/ 21 h 62"/>
                <a:gd name="T18" fmla="*/ 31 w 59"/>
                <a:gd name="T19" fmla="*/ 23 h 62"/>
                <a:gd name="T20" fmla="*/ 30 w 59"/>
                <a:gd name="T21" fmla="*/ 25 h 62"/>
                <a:gd name="T22" fmla="*/ 27 w 59"/>
                <a:gd name="T23" fmla="*/ 25 h 62"/>
                <a:gd name="T24" fmla="*/ 23 w 59"/>
                <a:gd name="T25" fmla="*/ 25 h 62"/>
                <a:gd name="T26" fmla="*/ 23 w 59"/>
                <a:gd name="T27" fmla="*/ 12 h 62"/>
                <a:gd name="T28" fmla="*/ 0 w 59"/>
                <a:gd name="T29" fmla="*/ 62 h 62"/>
                <a:gd name="T30" fmla="*/ 23 w 59"/>
                <a:gd name="T31" fmla="*/ 62 h 62"/>
                <a:gd name="T32" fmla="*/ 23 w 59"/>
                <a:gd name="T33" fmla="*/ 37 h 62"/>
                <a:gd name="T34" fmla="*/ 27 w 59"/>
                <a:gd name="T35" fmla="*/ 37 h 62"/>
                <a:gd name="T36" fmla="*/ 27 w 59"/>
                <a:gd name="T37" fmla="*/ 37 h 62"/>
                <a:gd name="T38" fmla="*/ 30 w 59"/>
                <a:gd name="T39" fmla="*/ 37 h 62"/>
                <a:gd name="T40" fmla="*/ 31 w 59"/>
                <a:gd name="T41" fmla="*/ 38 h 62"/>
                <a:gd name="T42" fmla="*/ 33 w 59"/>
                <a:gd name="T43" fmla="*/ 41 h 62"/>
                <a:gd name="T44" fmla="*/ 33 w 59"/>
                <a:gd name="T45" fmla="*/ 44 h 62"/>
                <a:gd name="T46" fmla="*/ 33 w 59"/>
                <a:gd name="T47" fmla="*/ 58 h 62"/>
                <a:gd name="T48" fmla="*/ 33 w 59"/>
                <a:gd name="T49" fmla="*/ 58 h 62"/>
                <a:gd name="T50" fmla="*/ 34 w 59"/>
                <a:gd name="T51" fmla="*/ 60 h 62"/>
                <a:gd name="T52" fmla="*/ 37 w 59"/>
                <a:gd name="T53" fmla="*/ 62 h 62"/>
                <a:gd name="T54" fmla="*/ 59 w 59"/>
                <a:gd name="T55" fmla="*/ 62 h 62"/>
                <a:gd name="T56" fmla="*/ 59 w 59"/>
                <a:gd name="T57" fmla="*/ 62 h 62"/>
                <a:gd name="T58" fmla="*/ 59 w 59"/>
                <a:gd name="T59" fmla="*/ 62 h 62"/>
                <a:gd name="T60" fmla="*/ 57 w 59"/>
                <a:gd name="T61" fmla="*/ 60 h 62"/>
                <a:gd name="T62" fmla="*/ 56 w 59"/>
                <a:gd name="T63" fmla="*/ 56 h 62"/>
                <a:gd name="T64" fmla="*/ 56 w 59"/>
                <a:gd name="T65" fmla="*/ 43 h 62"/>
                <a:gd name="T66" fmla="*/ 56 w 59"/>
                <a:gd name="T67" fmla="*/ 43 h 62"/>
                <a:gd name="T68" fmla="*/ 54 w 59"/>
                <a:gd name="T69" fmla="*/ 37 h 62"/>
                <a:gd name="T70" fmla="*/ 52 w 59"/>
                <a:gd name="T71" fmla="*/ 34 h 62"/>
                <a:gd name="T72" fmla="*/ 48 w 59"/>
                <a:gd name="T73" fmla="*/ 32 h 62"/>
                <a:gd name="T74" fmla="*/ 43 w 59"/>
                <a:gd name="T75" fmla="*/ 32 h 62"/>
                <a:gd name="T76" fmla="*/ 43 w 59"/>
                <a:gd name="T77" fmla="*/ 32 h 62"/>
                <a:gd name="T78" fmla="*/ 43 w 59"/>
                <a:gd name="T79" fmla="*/ 32 h 62"/>
                <a:gd name="T80" fmla="*/ 49 w 59"/>
                <a:gd name="T81" fmla="*/ 30 h 62"/>
                <a:gd name="T82" fmla="*/ 53 w 59"/>
                <a:gd name="T83" fmla="*/ 28 h 62"/>
                <a:gd name="T84" fmla="*/ 56 w 59"/>
                <a:gd name="T85" fmla="*/ 23 h 62"/>
                <a:gd name="T86" fmla="*/ 56 w 59"/>
                <a:gd name="T87" fmla="*/ 18 h 62"/>
                <a:gd name="T88" fmla="*/ 56 w 59"/>
                <a:gd name="T89" fmla="*/ 18 h 62"/>
                <a:gd name="T90" fmla="*/ 54 w 59"/>
                <a:gd name="T91" fmla="*/ 10 h 62"/>
                <a:gd name="T92" fmla="*/ 53 w 59"/>
                <a:gd name="T93" fmla="*/ 7 h 62"/>
                <a:gd name="T94" fmla="*/ 52 w 59"/>
                <a:gd name="T95" fmla="*/ 4 h 62"/>
                <a:gd name="T96" fmla="*/ 45 w 59"/>
                <a:gd name="T97" fmla="*/ 2 h 62"/>
                <a:gd name="T98" fmla="*/ 37 w 59"/>
                <a:gd name="T99" fmla="*/ 0 h 62"/>
                <a:gd name="T100" fmla="*/ 0 w 59"/>
                <a:gd name="T101" fmla="*/ 0 h 62"/>
                <a:gd name="T102" fmla="*/ 0 w 59"/>
                <a:gd name="T103" fmla="*/ 62 h 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" h="62">
                  <a:moveTo>
                    <a:pt x="23" y="12"/>
                  </a:moveTo>
                  <a:lnTo>
                    <a:pt x="27" y="12"/>
                  </a:lnTo>
                  <a:lnTo>
                    <a:pt x="30" y="12"/>
                  </a:lnTo>
                  <a:lnTo>
                    <a:pt x="31" y="14"/>
                  </a:lnTo>
                  <a:lnTo>
                    <a:pt x="33" y="15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1" y="23"/>
                  </a:lnTo>
                  <a:lnTo>
                    <a:pt x="30" y="25"/>
                  </a:lnTo>
                  <a:lnTo>
                    <a:pt x="27" y="25"/>
                  </a:lnTo>
                  <a:lnTo>
                    <a:pt x="23" y="25"/>
                  </a:lnTo>
                  <a:lnTo>
                    <a:pt x="23" y="12"/>
                  </a:lnTo>
                  <a:close/>
                  <a:moveTo>
                    <a:pt x="0" y="62"/>
                  </a:moveTo>
                  <a:lnTo>
                    <a:pt x="23" y="62"/>
                  </a:lnTo>
                  <a:lnTo>
                    <a:pt x="23" y="37"/>
                  </a:lnTo>
                  <a:lnTo>
                    <a:pt x="27" y="37"/>
                  </a:lnTo>
                  <a:lnTo>
                    <a:pt x="30" y="37"/>
                  </a:lnTo>
                  <a:lnTo>
                    <a:pt x="31" y="38"/>
                  </a:lnTo>
                  <a:lnTo>
                    <a:pt x="33" y="41"/>
                  </a:lnTo>
                  <a:lnTo>
                    <a:pt x="33" y="44"/>
                  </a:lnTo>
                  <a:lnTo>
                    <a:pt x="33" y="58"/>
                  </a:lnTo>
                  <a:lnTo>
                    <a:pt x="34" y="60"/>
                  </a:lnTo>
                  <a:lnTo>
                    <a:pt x="37" y="62"/>
                  </a:lnTo>
                  <a:lnTo>
                    <a:pt x="59" y="62"/>
                  </a:lnTo>
                  <a:lnTo>
                    <a:pt x="57" y="60"/>
                  </a:lnTo>
                  <a:lnTo>
                    <a:pt x="56" y="56"/>
                  </a:lnTo>
                  <a:lnTo>
                    <a:pt x="56" y="43"/>
                  </a:lnTo>
                  <a:lnTo>
                    <a:pt x="54" y="37"/>
                  </a:lnTo>
                  <a:lnTo>
                    <a:pt x="52" y="34"/>
                  </a:lnTo>
                  <a:lnTo>
                    <a:pt x="48" y="32"/>
                  </a:lnTo>
                  <a:lnTo>
                    <a:pt x="43" y="32"/>
                  </a:lnTo>
                  <a:lnTo>
                    <a:pt x="49" y="30"/>
                  </a:lnTo>
                  <a:lnTo>
                    <a:pt x="53" y="28"/>
                  </a:lnTo>
                  <a:lnTo>
                    <a:pt x="56" y="23"/>
                  </a:lnTo>
                  <a:lnTo>
                    <a:pt x="56" y="18"/>
                  </a:lnTo>
                  <a:lnTo>
                    <a:pt x="54" y="10"/>
                  </a:lnTo>
                  <a:lnTo>
                    <a:pt x="53" y="7"/>
                  </a:lnTo>
                  <a:lnTo>
                    <a:pt x="52" y="4"/>
                  </a:lnTo>
                  <a:lnTo>
                    <a:pt x="45" y="2"/>
                  </a:lnTo>
                  <a:lnTo>
                    <a:pt x="37" y="0"/>
                  </a:lnTo>
                  <a:lnTo>
                    <a:pt x="0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8" name="Freeform 75"/>
            <p:cNvSpPr>
              <a:spLocks/>
            </p:cNvSpPr>
            <p:nvPr userDrawn="1"/>
          </p:nvSpPr>
          <p:spPr bwMode="auto">
            <a:xfrm>
              <a:off x="4611" y="4107"/>
              <a:ext cx="56" cy="64"/>
            </a:xfrm>
            <a:custGeom>
              <a:avLst/>
              <a:gdLst>
                <a:gd name="T0" fmla="*/ 56 w 56"/>
                <a:gd name="T1" fmla="*/ 40 h 64"/>
                <a:gd name="T2" fmla="*/ 56 w 56"/>
                <a:gd name="T3" fmla="*/ 40 h 64"/>
                <a:gd name="T4" fmla="*/ 56 w 56"/>
                <a:gd name="T5" fmla="*/ 47 h 64"/>
                <a:gd name="T6" fmla="*/ 53 w 56"/>
                <a:gd name="T7" fmla="*/ 52 h 64"/>
                <a:gd name="T8" fmla="*/ 50 w 56"/>
                <a:gd name="T9" fmla="*/ 56 h 64"/>
                <a:gd name="T10" fmla="*/ 48 w 56"/>
                <a:gd name="T11" fmla="*/ 60 h 64"/>
                <a:gd name="T12" fmla="*/ 44 w 56"/>
                <a:gd name="T13" fmla="*/ 62 h 64"/>
                <a:gd name="T14" fmla="*/ 38 w 56"/>
                <a:gd name="T15" fmla="*/ 63 h 64"/>
                <a:gd name="T16" fmla="*/ 29 w 56"/>
                <a:gd name="T17" fmla="*/ 64 h 64"/>
                <a:gd name="T18" fmla="*/ 29 w 56"/>
                <a:gd name="T19" fmla="*/ 64 h 64"/>
                <a:gd name="T20" fmla="*/ 18 w 56"/>
                <a:gd name="T21" fmla="*/ 63 h 64"/>
                <a:gd name="T22" fmla="*/ 13 w 56"/>
                <a:gd name="T23" fmla="*/ 62 h 64"/>
                <a:gd name="T24" fmla="*/ 9 w 56"/>
                <a:gd name="T25" fmla="*/ 60 h 64"/>
                <a:gd name="T26" fmla="*/ 5 w 56"/>
                <a:gd name="T27" fmla="*/ 56 h 64"/>
                <a:gd name="T28" fmla="*/ 3 w 56"/>
                <a:gd name="T29" fmla="*/ 52 h 64"/>
                <a:gd name="T30" fmla="*/ 1 w 56"/>
                <a:gd name="T31" fmla="*/ 47 h 64"/>
                <a:gd name="T32" fmla="*/ 0 w 56"/>
                <a:gd name="T33" fmla="*/ 40 h 64"/>
                <a:gd name="T34" fmla="*/ 0 w 56"/>
                <a:gd name="T35" fmla="*/ 0 h 64"/>
                <a:gd name="T36" fmla="*/ 23 w 56"/>
                <a:gd name="T37" fmla="*/ 0 h 64"/>
                <a:gd name="T38" fmla="*/ 23 w 56"/>
                <a:gd name="T39" fmla="*/ 45 h 64"/>
                <a:gd name="T40" fmla="*/ 23 w 56"/>
                <a:gd name="T41" fmla="*/ 45 h 64"/>
                <a:gd name="T42" fmla="*/ 24 w 56"/>
                <a:gd name="T43" fmla="*/ 49 h 64"/>
                <a:gd name="T44" fmla="*/ 26 w 56"/>
                <a:gd name="T45" fmla="*/ 51 h 64"/>
                <a:gd name="T46" fmla="*/ 29 w 56"/>
                <a:gd name="T47" fmla="*/ 51 h 64"/>
                <a:gd name="T48" fmla="*/ 29 w 56"/>
                <a:gd name="T49" fmla="*/ 51 h 64"/>
                <a:gd name="T50" fmla="*/ 30 w 56"/>
                <a:gd name="T51" fmla="*/ 51 h 64"/>
                <a:gd name="T52" fmla="*/ 31 w 56"/>
                <a:gd name="T53" fmla="*/ 49 h 64"/>
                <a:gd name="T54" fmla="*/ 33 w 56"/>
                <a:gd name="T55" fmla="*/ 45 h 64"/>
                <a:gd name="T56" fmla="*/ 33 w 56"/>
                <a:gd name="T57" fmla="*/ 0 h 64"/>
                <a:gd name="T58" fmla="*/ 56 w 56"/>
                <a:gd name="T59" fmla="*/ 0 h 64"/>
                <a:gd name="T60" fmla="*/ 56 w 56"/>
                <a:gd name="T61" fmla="*/ 40 h 6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6" h="64">
                  <a:moveTo>
                    <a:pt x="56" y="40"/>
                  </a:moveTo>
                  <a:lnTo>
                    <a:pt x="56" y="40"/>
                  </a:lnTo>
                  <a:lnTo>
                    <a:pt x="56" y="47"/>
                  </a:lnTo>
                  <a:lnTo>
                    <a:pt x="53" y="52"/>
                  </a:lnTo>
                  <a:lnTo>
                    <a:pt x="50" y="56"/>
                  </a:lnTo>
                  <a:lnTo>
                    <a:pt x="48" y="60"/>
                  </a:lnTo>
                  <a:lnTo>
                    <a:pt x="44" y="62"/>
                  </a:lnTo>
                  <a:lnTo>
                    <a:pt x="38" y="63"/>
                  </a:lnTo>
                  <a:lnTo>
                    <a:pt x="29" y="64"/>
                  </a:lnTo>
                  <a:lnTo>
                    <a:pt x="18" y="63"/>
                  </a:lnTo>
                  <a:lnTo>
                    <a:pt x="13" y="62"/>
                  </a:lnTo>
                  <a:lnTo>
                    <a:pt x="9" y="60"/>
                  </a:lnTo>
                  <a:lnTo>
                    <a:pt x="5" y="56"/>
                  </a:lnTo>
                  <a:lnTo>
                    <a:pt x="3" y="52"/>
                  </a:lnTo>
                  <a:lnTo>
                    <a:pt x="1" y="47"/>
                  </a:lnTo>
                  <a:lnTo>
                    <a:pt x="0" y="40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45"/>
                  </a:lnTo>
                  <a:lnTo>
                    <a:pt x="24" y="49"/>
                  </a:lnTo>
                  <a:lnTo>
                    <a:pt x="26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1" y="49"/>
                  </a:lnTo>
                  <a:lnTo>
                    <a:pt x="33" y="45"/>
                  </a:lnTo>
                  <a:lnTo>
                    <a:pt x="33" y="0"/>
                  </a:lnTo>
                  <a:lnTo>
                    <a:pt x="56" y="0"/>
                  </a:lnTo>
                  <a:lnTo>
                    <a:pt x="56" y="4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39" name="Freeform 76"/>
            <p:cNvSpPr>
              <a:spLocks/>
            </p:cNvSpPr>
            <p:nvPr userDrawn="1"/>
          </p:nvSpPr>
          <p:spPr bwMode="auto">
            <a:xfrm>
              <a:off x="4682" y="4107"/>
              <a:ext cx="63" cy="62"/>
            </a:xfrm>
            <a:custGeom>
              <a:avLst/>
              <a:gdLst>
                <a:gd name="T0" fmla="*/ 0 w 63"/>
                <a:gd name="T1" fmla="*/ 0 h 62"/>
                <a:gd name="T2" fmla="*/ 30 w 63"/>
                <a:gd name="T3" fmla="*/ 0 h 62"/>
                <a:gd name="T4" fmla="*/ 42 w 63"/>
                <a:gd name="T5" fmla="*/ 38 h 62"/>
                <a:gd name="T6" fmla="*/ 42 w 63"/>
                <a:gd name="T7" fmla="*/ 38 h 62"/>
                <a:gd name="T8" fmla="*/ 42 w 63"/>
                <a:gd name="T9" fmla="*/ 0 h 62"/>
                <a:gd name="T10" fmla="*/ 63 w 63"/>
                <a:gd name="T11" fmla="*/ 0 h 62"/>
                <a:gd name="T12" fmla="*/ 63 w 63"/>
                <a:gd name="T13" fmla="*/ 62 h 62"/>
                <a:gd name="T14" fmla="*/ 33 w 63"/>
                <a:gd name="T15" fmla="*/ 62 h 62"/>
                <a:gd name="T16" fmla="*/ 19 w 63"/>
                <a:gd name="T17" fmla="*/ 26 h 62"/>
                <a:gd name="T18" fmla="*/ 19 w 63"/>
                <a:gd name="T19" fmla="*/ 26 h 62"/>
                <a:gd name="T20" fmla="*/ 19 w 63"/>
                <a:gd name="T21" fmla="*/ 62 h 62"/>
                <a:gd name="T22" fmla="*/ 0 w 63"/>
                <a:gd name="T23" fmla="*/ 62 h 62"/>
                <a:gd name="T24" fmla="*/ 0 w 63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" h="62">
                  <a:moveTo>
                    <a:pt x="0" y="0"/>
                  </a:moveTo>
                  <a:lnTo>
                    <a:pt x="30" y="0"/>
                  </a:lnTo>
                  <a:lnTo>
                    <a:pt x="42" y="38"/>
                  </a:lnTo>
                  <a:lnTo>
                    <a:pt x="42" y="0"/>
                  </a:lnTo>
                  <a:lnTo>
                    <a:pt x="63" y="0"/>
                  </a:lnTo>
                  <a:lnTo>
                    <a:pt x="63" y="62"/>
                  </a:lnTo>
                  <a:lnTo>
                    <a:pt x="33" y="62"/>
                  </a:lnTo>
                  <a:lnTo>
                    <a:pt x="19" y="26"/>
                  </a:lnTo>
                  <a:lnTo>
                    <a:pt x="19" y="62"/>
                  </a:ln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40" name="Freeform 77"/>
            <p:cNvSpPr>
              <a:spLocks/>
            </p:cNvSpPr>
            <p:nvPr userDrawn="1"/>
          </p:nvSpPr>
          <p:spPr bwMode="auto">
            <a:xfrm>
              <a:off x="4804" y="4106"/>
              <a:ext cx="56" cy="65"/>
            </a:xfrm>
            <a:custGeom>
              <a:avLst/>
              <a:gdLst>
                <a:gd name="T0" fmla="*/ 33 w 56"/>
                <a:gd name="T1" fmla="*/ 19 h 65"/>
                <a:gd name="T2" fmla="*/ 31 w 56"/>
                <a:gd name="T3" fmla="*/ 13 h 65"/>
                <a:gd name="T4" fmla="*/ 27 w 56"/>
                <a:gd name="T5" fmla="*/ 12 h 65"/>
                <a:gd name="T6" fmla="*/ 24 w 56"/>
                <a:gd name="T7" fmla="*/ 13 h 65"/>
                <a:gd name="T8" fmla="*/ 23 w 56"/>
                <a:gd name="T9" fmla="*/ 16 h 65"/>
                <a:gd name="T10" fmla="*/ 28 w 56"/>
                <a:gd name="T11" fmla="*/ 23 h 65"/>
                <a:gd name="T12" fmla="*/ 45 w 56"/>
                <a:gd name="T13" fmla="*/ 29 h 65"/>
                <a:gd name="T14" fmla="*/ 54 w 56"/>
                <a:gd name="T15" fmla="*/ 37 h 65"/>
                <a:gd name="T16" fmla="*/ 56 w 56"/>
                <a:gd name="T17" fmla="*/ 44 h 65"/>
                <a:gd name="T18" fmla="*/ 53 w 56"/>
                <a:gd name="T19" fmla="*/ 53 h 65"/>
                <a:gd name="T20" fmla="*/ 48 w 56"/>
                <a:gd name="T21" fmla="*/ 60 h 65"/>
                <a:gd name="T22" fmla="*/ 39 w 56"/>
                <a:gd name="T23" fmla="*/ 64 h 65"/>
                <a:gd name="T24" fmla="*/ 28 w 56"/>
                <a:gd name="T25" fmla="*/ 65 h 65"/>
                <a:gd name="T26" fmla="*/ 12 w 56"/>
                <a:gd name="T27" fmla="*/ 63 h 65"/>
                <a:gd name="T28" fmla="*/ 4 w 56"/>
                <a:gd name="T29" fmla="*/ 59 h 65"/>
                <a:gd name="T30" fmla="*/ 0 w 56"/>
                <a:gd name="T31" fmla="*/ 52 h 65"/>
                <a:gd name="T32" fmla="*/ 22 w 56"/>
                <a:gd name="T33" fmla="*/ 45 h 65"/>
                <a:gd name="T34" fmla="*/ 23 w 56"/>
                <a:gd name="T35" fmla="*/ 52 h 65"/>
                <a:gd name="T36" fmla="*/ 24 w 56"/>
                <a:gd name="T37" fmla="*/ 53 h 65"/>
                <a:gd name="T38" fmla="*/ 27 w 56"/>
                <a:gd name="T39" fmla="*/ 53 h 65"/>
                <a:gd name="T40" fmla="*/ 31 w 56"/>
                <a:gd name="T41" fmla="*/ 52 h 65"/>
                <a:gd name="T42" fmla="*/ 33 w 56"/>
                <a:gd name="T43" fmla="*/ 48 h 65"/>
                <a:gd name="T44" fmla="*/ 31 w 56"/>
                <a:gd name="T45" fmla="*/ 44 h 65"/>
                <a:gd name="T46" fmla="*/ 16 w 56"/>
                <a:gd name="T47" fmla="*/ 38 h 65"/>
                <a:gd name="T48" fmla="*/ 5 w 56"/>
                <a:gd name="T49" fmla="*/ 33 h 65"/>
                <a:gd name="T50" fmla="*/ 0 w 56"/>
                <a:gd name="T51" fmla="*/ 20 h 65"/>
                <a:gd name="T52" fmla="*/ 0 w 56"/>
                <a:gd name="T53" fmla="*/ 16 h 65"/>
                <a:gd name="T54" fmla="*/ 4 w 56"/>
                <a:gd name="T55" fmla="*/ 8 h 65"/>
                <a:gd name="T56" fmla="*/ 11 w 56"/>
                <a:gd name="T57" fmla="*/ 3 h 65"/>
                <a:gd name="T58" fmla="*/ 27 w 56"/>
                <a:gd name="T59" fmla="*/ 0 h 65"/>
                <a:gd name="T60" fmla="*/ 34 w 56"/>
                <a:gd name="T61" fmla="*/ 0 h 65"/>
                <a:gd name="T62" fmla="*/ 45 w 56"/>
                <a:gd name="T63" fmla="*/ 3 h 65"/>
                <a:gd name="T64" fmla="*/ 50 w 56"/>
                <a:gd name="T65" fmla="*/ 8 h 65"/>
                <a:gd name="T66" fmla="*/ 53 w 56"/>
                <a:gd name="T67" fmla="*/ 19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5">
                  <a:moveTo>
                    <a:pt x="33" y="19"/>
                  </a:moveTo>
                  <a:lnTo>
                    <a:pt x="33" y="19"/>
                  </a:lnTo>
                  <a:lnTo>
                    <a:pt x="31" y="13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4" y="13"/>
                  </a:lnTo>
                  <a:lnTo>
                    <a:pt x="23" y="16"/>
                  </a:lnTo>
                  <a:lnTo>
                    <a:pt x="24" y="20"/>
                  </a:lnTo>
                  <a:lnTo>
                    <a:pt x="28" y="23"/>
                  </a:lnTo>
                  <a:lnTo>
                    <a:pt x="39" y="26"/>
                  </a:lnTo>
                  <a:lnTo>
                    <a:pt x="45" y="29"/>
                  </a:lnTo>
                  <a:lnTo>
                    <a:pt x="50" y="31"/>
                  </a:lnTo>
                  <a:lnTo>
                    <a:pt x="54" y="37"/>
                  </a:lnTo>
                  <a:lnTo>
                    <a:pt x="56" y="44"/>
                  </a:lnTo>
                  <a:lnTo>
                    <a:pt x="54" y="49"/>
                  </a:lnTo>
                  <a:lnTo>
                    <a:pt x="53" y="53"/>
                  </a:lnTo>
                  <a:lnTo>
                    <a:pt x="50" y="57"/>
                  </a:lnTo>
                  <a:lnTo>
                    <a:pt x="48" y="60"/>
                  </a:lnTo>
                  <a:lnTo>
                    <a:pt x="43" y="63"/>
                  </a:lnTo>
                  <a:lnTo>
                    <a:pt x="39" y="64"/>
                  </a:lnTo>
                  <a:lnTo>
                    <a:pt x="28" y="65"/>
                  </a:lnTo>
                  <a:lnTo>
                    <a:pt x="17" y="64"/>
                  </a:lnTo>
                  <a:lnTo>
                    <a:pt x="12" y="63"/>
                  </a:lnTo>
                  <a:lnTo>
                    <a:pt x="8" y="61"/>
                  </a:lnTo>
                  <a:lnTo>
                    <a:pt x="4" y="59"/>
                  </a:lnTo>
                  <a:lnTo>
                    <a:pt x="1" y="56"/>
                  </a:lnTo>
                  <a:lnTo>
                    <a:pt x="0" y="52"/>
                  </a:lnTo>
                  <a:lnTo>
                    <a:pt x="0" y="45"/>
                  </a:lnTo>
                  <a:lnTo>
                    <a:pt x="22" y="45"/>
                  </a:lnTo>
                  <a:lnTo>
                    <a:pt x="23" y="52"/>
                  </a:lnTo>
                  <a:lnTo>
                    <a:pt x="24" y="53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27" y="41"/>
                  </a:lnTo>
                  <a:lnTo>
                    <a:pt x="16" y="38"/>
                  </a:lnTo>
                  <a:lnTo>
                    <a:pt x="11" y="35"/>
                  </a:lnTo>
                  <a:lnTo>
                    <a:pt x="5" y="33"/>
                  </a:lnTo>
                  <a:lnTo>
                    <a:pt x="1" y="29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4" y="8"/>
                  </a:lnTo>
                  <a:lnTo>
                    <a:pt x="7" y="5"/>
                  </a:lnTo>
                  <a:lnTo>
                    <a:pt x="11" y="3"/>
                  </a:lnTo>
                  <a:lnTo>
                    <a:pt x="15" y="1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1"/>
                  </a:lnTo>
                  <a:lnTo>
                    <a:pt x="45" y="3"/>
                  </a:lnTo>
                  <a:lnTo>
                    <a:pt x="49" y="5"/>
                  </a:lnTo>
                  <a:lnTo>
                    <a:pt x="50" y="8"/>
                  </a:lnTo>
                  <a:lnTo>
                    <a:pt x="53" y="11"/>
                  </a:lnTo>
                  <a:lnTo>
                    <a:pt x="53" y="19"/>
                  </a:lnTo>
                  <a:lnTo>
                    <a:pt x="33" y="19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41" name="Freeform 78"/>
            <p:cNvSpPr>
              <a:spLocks noEditPoints="1"/>
            </p:cNvSpPr>
            <p:nvPr userDrawn="1"/>
          </p:nvSpPr>
          <p:spPr bwMode="auto">
            <a:xfrm>
              <a:off x="4869" y="4107"/>
              <a:ext cx="63" cy="62"/>
            </a:xfrm>
            <a:custGeom>
              <a:avLst/>
              <a:gdLst>
                <a:gd name="T0" fmla="*/ 32 w 63"/>
                <a:gd name="T1" fmla="*/ 12 h 62"/>
                <a:gd name="T2" fmla="*/ 32 w 63"/>
                <a:gd name="T3" fmla="*/ 12 h 62"/>
                <a:gd name="T4" fmla="*/ 36 w 63"/>
                <a:gd name="T5" fmla="*/ 41 h 62"/>
                <a:gd name="T6" fmla="*/ 28 w 63"/>
                <a:gd name="T7" fmla="*/ 41 h 62"/>
                <a:gd name="T8" fmla="*/ 32 w 63"/>
                <a:gd name="T9" fmla="*/ 12 h 62"/>
                <a:gd name="T10" fmla="*/ 0 w 63"/>
                <a:gd name="T11" fmla="*/ 62 h 62"/>
                <a:gd name="T12" fmla="*/ 24 w 63"/>
                <a:gd name="T13" fmla="*/ 62 h 62"/>
                <a:gd name="T14" fmla="*/ 25 w 63"/>
                <a:gd name="T15" fmla="*/ 52 h 62"/>
                <a:gd name="T16" fmla="*/ 39 w 63"/>
                <a:gd name="T17" fmla="*/ 52 h 62"/>
                <a:gd name="T18" fmla="*/ 40 w 63"/>
                <a:gd name="T19" fmla="*/ 62 h 62"/>
                <a:gd name="T20" fmla="*/ 63 w 63"/>
                <a:gd name="T21" fmla="*/ 62 h 62"/>
                <a:gd name="T22" fmla="*/ 48 w 63"/>
                <a:gd name="T23" fmla="*/ 0 h 62"/>
                <a:gd name="T24" fmla="*/ 15 w 63"/>
                <a:gd name="T25" fmla="*/ 0 h 62"/>
                <a:gd name="T26" fmla="*/ 0 w 63"/>
                <a:gd name="T27" fmla="*/ 62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3" h="62">
                  <a:moveTo>
                    <a:pt x="32" y="12"/>
                  </a:moveTo>
                  <a:lnTo>
                    <a:pt x="32" y="12"/>
                  </a:lnTo>
                  <a:lnTo>
                    <a:pt x="36" y="41"/>
                  </a:lnTo>
                  <a:lnTo>
                    <a:pt x="28" y="41"/>
                  </a:lnTo>
                  <a:lnTo>
                    <a:pt x="32" y="12"/>
                  </a:lnTo>
                  <a:close/>
                  <a:moveTo>
                    <a:pt x="0" y="62"/>
                  </a:moveTo>
                  <a:lnTo>
                    <a:pt x="24" y="62"/>
                  </a:lnTo>
                  <a:lnTo>
                    <a:pt x="25" y="52"/>
                  </a:lnTo>
                  <a:lnTo>
                    <a:pt x="39" y="52"/>
                  </a:lnTo>
                  <a:lnTo>
                    <a:pt x="40" y="62"/>
                  </a:lnTo>
                  <a:lnTo>
                    <a:pt x="63" y="62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42" name="Freeform 79"/>
            <p:cNvSpPr>
              <a:spLocks noEditPoints="1"/>
            </p:cNvSpPr>
            <p:nvPr userDrawn="1"/>
          </p:nvSpPr>
          <p:spPr bwMode="auto">
            <a:xfrm>
              <a:off x="4946" y="4107"/>
              <a:ext cx="56" cy="62"/>
            </a:xfrm>
            <a:custGeom>
              <a:avLst/>
              <a:gdLst>
                <a:gd name="T0" fmla="*/ 23 w 56"/>
                <a:gd name="T1" fmla="*/ 14 h 62"/>
                <a:gd name="T2" fmla="*/ 27 w 56"/>
                <a:gd name="T3" fmla="*/ 14 h 62"/>
                <a:gd name="T4" fmla="*/ 27 w 56"/>
                <a:gd name="T5" fmla="*/ 14 h 62"/>
                <a:gd name="T6" fmla="*/ 29 w 56"/>
                <a:gd name="T7" fmla="*/ 14 h 62"/>
                <a:gd name="T8" fmla="*/ 31 w 56"/>
                <a:gd name="T9" fmla="*/ 15 h 62"/>
                <a:gd name="T10" fmla="*/ 33 w 56"/>
                <a:gd name="T11" fmla="*/ 18 h 62"/>
                <a:gd name="T12" fmla="*/ 33 w 56"/>
                <a:gd name="T13" fmla="*/ 21 h 62"/>
                <a:gd name="T14" fmla="*/ 33 w 56"/>
                <a:gd name="T15" fmla="*/ 21 h 62"/>
                <a:gd name="T16" fmla="*/ 33 w 56"/>
                <a:gd name="T17" fmla="*/ 25 h 62"/>
                <a:gd name="T18" fmla="*/ 31 w 56"/>
                <a:gd name="T19" fmla="*/ 28 h 62"/>
                <a:gd name="T20" fmla="*/ 30 w 56"/>
                <a:gd name="T21" fmla="*/ 29 h 62"/>
                <a:gd name="T22" fmla="*/ 27 w 56"/>
                <a:gd name="T23" fmla="*/ 30 h 62"/>
                <a:gd name="T24" fmla="*/ 23 w 56"/>
                <a:gd name="T25" fmla="*/ 30 h 62"/>
                <a:gd name="T26" fmla="*/ 23 w 56"/>
                <a:gd name="T27" fmla="*/ 14 h 62"/>
                <a:gd name="T28" fmla="*/ 0 w 56"/>
                <a:gd name="T29" fmla="*/ 62 h 62"/>
                <a:gd name="T30" fmla="*/ 23 w 56"/>
                <a:gd name="T31" fmla="*/ 62 h 62"/>
                <a:gd name="T32" fmla="*/ 23 w 56"/>
                <a:gd name="T33" fmla="*/ 43 h 62"/>
                <a:gd name="T34" fmla="*/ 38 w 56"/>
                <a:gd name="T35" fmla="*/ 43 h 62"/>
                <a:gd name="T36" fmla="*/ 38 w 56"/>
                <a:gd name="T37" fmla="*/ 43 h 62"/>
                <a:gd name="T38" fmla="*/ 42 w 56"/>
                <a:gd name="T39" fmla="*/ 43 h 62"/>
                <a:gd name="T40" fmla="*/ 46 w 56"/>
                <a:gd name="T41" fmla="*/ 41 h 62"/>
                <a:gd name="T42" fmla="*/ 49 w 56"/>
                <a:gd name="T43" fmla="*/ 40 h 62"/>
                <a:gd name="T44" fmla="*/ 52 w 56"/>
                <a:gd name="T45" fmla="*/ 37 h 62"/>
                <a:gd name="T46" fmla="*/ 55 w 56"/>
                <a:gd name="T47" fmla="*/ 30 h 62"/>
                <a:gd name="T48" fmla="*/ 56 w 56"/>
                <a:gd name="T49" fmla="*/ 22 h 62"/>
                <a:gd name="T50" fmla="*/ 56 w 56"/>
                <a:gd name="T51" fmla="*/ 22 h 62"/>
                <a:gd name="T52" fmla="*/ 55 w 56"/>
                <a:gd name="T53" fmla="*/ 12 h 62"/>
                <a:gd name="T54" fmla="*/ 53 w 56"/>
                <a:gd name="T55" fmla="*/ 8 h 62"/>
                <a:gd name="T56" fmla="*/ 51 w 56"/>
                <a:gd name="T57" fmla="*/ 6 h 62"/>
                <a:gd name="T58" fmla="*/ 48 w 56"/>
                <a:gd name="T59" fmla="*/ 3 h 62"/>
                <a:gd name="T60" fmla="*/ 44 w 56"/>
                <a:gd name="T61" fmla="*/ 2 h 62"/>
                <a:gd name="T62" fmla="*/ 34 w 56"/>
                <a:gd name="T63" fmla="*/ 0 h 62"/>
                <a:gd name="T64" fmla="*/ 0 w 56"/>
                <a:gd name="T65" fmla="*/ 0 h 62"/>
                <a:gd name="T66" fmla="*/ 0 w 56"/>
                <a:gd name="T67" fmla="*/ 62 h 6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6" h="62">
                  <a:moveTo>
                    <a:pt x="23" y="14"/>
                  </a:moveTo>
                  <a:lnTo>
                    <a:pt x="27" y="14"/>
                  </a:lnTo>
                  <a:lnTo>
                    <a:pt x="29" y="14"/>
                  </a:lnTo>
                  <a:lnTo>
                    <a:pt x="31" y="15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5"/>
                  </a:lnTo>
                  <a:lnTo>
                    <a:pt x="31" y="28"/>
                  </a:lnTo>
                  <a:lnTo>
                    <a:pt x="30" y="29"/>
                  </a:lnTo>
                  <a:lnTo>
                    <a:pt x="27" y="30"/>
                  </a:lnTo>
                  <a:lnTo>
                    <a:pt x="23" y="30"/>
                  </a:lnTo>
                  <a:lnTo>
                    <a:pt x="23" y="14"/>
                  </a:lnTo>
                  <a:close/>
                  <a:moveTo>
                    <a:pt x="0" y="62"/>
                  </a:moveTo>
                  <a:lnTo>
                    <a:pt x="23" y="62"/>
                  </a:lnTo>
                  <a:lnTo>
                    <a:pt x="23" y="43"/>
                  </a:lnTo>
                  <a:lnTo>
                    <a:pt x="38" y="43"/>
                  </a:lnTo>
                  <a:lnTo>
                    <a:pt x="42" y="43"/>
                  </a:lnTo>
                  <a:lnTo>
                    <a:pt x="46" y="41"/>
                  </a:lnTo>
                  <a:lnTo>
                    <a:pt x="49" y="40"/>
                  </a:lnTo>
                  <a:lnTo>
                    <a:pt x="52" y="37"/>
                  </a:lnTo>
                  <a:lnTo>
                    <a:pt x="55" y="30"/>
                  </a:lnTo>
                  <a:lnTo>
                    <a:pt x="56" y="22"/>
                  </a:lnTo>
                  <a:lnTo>
                    <a:pt x="55" y="12"/>
                  </a:lnTo>
                  <a:lnTo>
                    <a:pt x="53" y="8"/>
                  </a:lnTo>
                  <a:lnTo>
                    <a:pt x="51" y="6"/>
                  </a:lnTo>
                  <a:lnTo>
                    <a:pt x="48" y="3"/>
                  </a:lnTo>
                  <a:lnTo>
                    <a:pt x="44" y="2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43" name="Freeform 80"/>
            <p:cNvSpPr>
              <a:spLocks/>
            </p:cNvSpPr>
            <p:nvPr userDrawn="1"/>
          </p:nvSpPr>
          <p:spPr bwMode="auto">
            <a:xfrm>
              <a:off x="5006" y="4107"/>
              <a:ext cx="15" cy="21"/>
            </a:xfrm>
            <a:custGeom>
              <a:avLst/>
              <a:gdLst>
                <a:gd name="T0" fmla="*/ 15 w 15"/>
                <a:gd name="T1" fmla="*/ 4 h 21"/>
                <a:gd name="T2" fmla="*/ 10 w 15"/>
                <a:gd name="T3" fmla="*/ 4 h 21"/>
                <a:gd name="T4" fmla="*/ 10 w 15"/>
                <a:gd name="T5" fmla="*/ 21 h 21"/>
                <a:gd name="T6" fmla="*/ 6 w 15"/>
                <a:gd name="T7" fmla="*/ 21 h 21"/>
                <a:gd name="T8" fmla="*/ 6 w 15"/>
                <a:gd name="T9" fmla="*/ 4 h 21"/>
                <a:gd name="T10" fmla="*/ 0 w 15"/>
                <a:gd name="T11" fmla="*/ 4 h 21"/>
                <a:gd name="T12" fmla="*/ 0 w 15"/>
                <a:gd name="T13" fmla="*/ 0 h 21"/>
                <a:gd name="T14" fmla="*/ 15 w 15"/>
                <a:gd name="T15" fmla="*/ 0 h 21"/>
                <a:gd name="T16" fmla="*/ 15 w 15"/>
                <a:gd name="T17" fmla="*/ 4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" h="21">
                  <a:moveTo>
                    <a:pt x="15" y="4"/>
                  </a:moveTo>
                  <a:lnTo>
                    <a:pt x="10" y="4"/>
                  </a:lnTo>
                  <a:lnTo>
                    <a:pt x="10" y="21"/>
                  </a:lnTo>
                  <a:lnTo>
                    <a:pt x="6" y="21"/>
                  </a:lnTo>
                  <a:lnTo>
                    <a:pt x="6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  <p:sp>
          <p:nvSpPr>
            <p:cNvPr id="44" name="Freeform 81"/>
            <p:cNvSpPr>
              <a:spLocks/>
            </p:cNvSpPr>
            <p:nvPr userDrawn="1"/>
          </p:nvSpPr>
          <p:spPr bwMode="auto">
            <a:xfrm>
              <a:off x="5024" y="4107"/>
              <a:ext cx="23" cy="21"/>
            </a:xfrm>
            <a:custGeom>
              <a:avLst/>
              <a:gdLst>
                <a:gd name="T0" fmla="*/ 23 w 23"/>
                <a:gd name="T1" fmla="*/ 21 h 21"/>
                <a:gd name="T2" fmla="*/ 19 w 23"/>
                <a:gd name="T3" fmla="*/ 21 h 21"/>
                <a:gd name="T4" fmla="*/ 19 w 23"/>
                <a:gd name="T5" fmla="*/ 6 h 21"/>
                <a:gd name="T6" fmla="*/ 14 w 23"/>
                <a:gd name="T7" fmla="*/ 21 h 21"/>
                <a:gd name="T8" fmla="*/ 11 w 23"/>
                <a:gd name="T9" fmla="*/ 21 h 21"/>
                <a:gd name="T10" fmla="*/ 4 w 23"/>
                <a:gd name="T11" fmla="*/ 6 h 21"/>
                <a:gd name="T12" fmla="*/ 4 w 23"/>
                <a:gd name="T13" fmla="*/ 21 h 21"/>
                <a:gd name="T14" fmla="*/ 0 w 23"/>
                <a:gd name="T15" fmla="*/ 21 h 21"/>
                <a:gd name="T16" fmla="*/ 0 w 23"/>
                <a:gd name="T17" fmla="*/ 0 h 21"/>
                <a:gd name="T18" fmla="*/ 7 w 23"/>
                <a:gd name="T19" fmla="*/ 0 h 21"/>
                <a:gd name="T20" fmla="*/ 12 w 23"/>
                <a:gd name="T21" fmla="*/ 15 h 21"/>
                <a:gd name="T22" fmla="*/ 18 w 23"/>
                <a:gd name="T23" fmla="*/ 0 h 21"/>
                <a:gd name="T24" fmla="*/ 23 w 23"/>
                <a:gd name="T25" fmla="*/ 0 h 21"/>
                <a:gd name="T26" fmla="*/ 23 w 23"/>
                <a:gd name="T27" fmla="*/ 21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3" h="21">
                  <a:moveTo>
                    <a:pt x="23" y="21"/>
                  </a:moveTo>
                  <a:lnTo>
                    <a:pt x="19" y="21"/>
                  </a:lnTo>
                  <a:lnTo>
                    <a:pt x="19" y="6"/>
                  </a:lnTo>
                  <a:lnTo>
                    <a:pt x="14" y="21"/>
                  </a:lnTo>
                  <a:lnTo>
                    <a:pt x="11" y="21"/>
                  </a:lnTo>
                  <a:lnTo>
                    <a:pt x="4" y="6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15"/>
                  </a:lnTo>
                  <a:lnTo>
                    <a:pt x="18" y="0"/>
                  </a:lnTo>
                  <a:lnTo>
                    <a:pt x="23" y="0"/>
                  </a:lnTo>
                  <a:lnTo>
                    <a:pt x="23" y="21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</a:endParaRPr>
            </a:p>
          </p:txBody>
        </p:sp>
      </p:grpSp>
      <p:sp>
        <p:nvSpPr>
          <p:cNvPr id="66560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49238" y="2853348"/>
            <a:ext cx="8643937" cy="1752600"/>
          </a:xfrm>
          <a:ln w="9525"/>
        </p:spPr>
        <p:txBody>
          <a:bodyPr/>
          <a:lstStyle>
            <a:lvl1pPr eaLnBrk="0" hangingPunct="0">
              <a:spcBef>
                <a:spcPct val="0"/>
              </a:spcBef>
              <a:buClrTx/>
              <a:buSzTx/>
              <a:buFontTx/>
              <a:buNone/>
              <a:defRPr sz="2000">
                <a:solidFill>
                  <a:srgbClr val="666666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65630" name="Rectangle 30"/>
          <p:cNvSpPr>
            <a:spLocks noGrp="1" noChangeArrowheads="1"/>
          </p:cNvSpPr>
          <p:nvPr>
            <p:ph type="ctrTitle"/>
          </p:nvPr>
        </p:nvSpPr>
        <p:spPr>
          <a:xfrm>
            <a:off x="249238" y="200025"/>
            <a:ext cx="8643937" cy="2384913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4C9623C1-6A50-4828-AD54-992ABAB7090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34175" y="201613"/>
            <a:ext cx="2160588" cy="59150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238" y="201613"/>
            <a:ext cx="6332537" cy="59150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5F055A0E-63E1-4AAE-923D-BBB23209D2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226D35C0-C952-4A21-94D6-BCE03BA3A2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9C099155-7F50-4BD5-BE0C-75C5933E7A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238" y="1292225"/>
            <a:ext cx="4246562" cy="4824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2225"/>
            <a:ext cx="4246563" cy="48244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A21ABA57-B7D8-4F04-9B61-79C0ADB03B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E27249E3-0F39-408F-9D9F-525529915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B83F617E-4B2F-4957-A080-E35943EAEA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46CEA571-DE77-4940-A2E7-E9CC39F120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5BEA9BA8-EC8A-4C0F-9BD0-B2702CCDED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AP_Footnote_2007_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DB6203E1-B2E6-41A2-9357-9FA6EA6DFD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gray">
          <a:xfrm>
            <a:off x="152400" y="104775"/>
            <a:ext cx="7350125" cy="608013"/>
          </a:xfrm>
          <a:prstGeom prst="rect">
            <a:avLst/>
          </a:prstGeom>
          <a:solidFill>
            <a:srgbClr val="CCCCC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Arial" pitchFamily="34" charset="0"/>
              <a:ea typeface="Arial Unicode MS" pitchFamily="34" charset="-128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49238" y="809625"/>
            <a:ext cx="8645525" cy="53070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64581" name="SAP_Footnote_2007_1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52400" y="6721475"/>
            <a:ext cx="191770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700" smtClean="0">
                <a:solidFill>
                  <a:srgbClr val="666666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© SAP AG 2009. All rights reserved. / Page </a:t>
            </a:r>
            <a:fld id="{A10F91FC-621C-4AE8-A0C7-9D356E11E1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53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249238" y="201613"/>
            <a:ext cx="71564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pic>
        <p:nvPicPr>
          <p:cNvPr id="2056" name="Picture 8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32688" y="130175"/>
            <a:ext cx="1531937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906700"/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>
    <p:zoom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ＭＳ Ｐゴシック" charset="0"/>
          <a:cs typeface="Arial Unicode MS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ＭＳ Ｐゴシック" charset="0"/>
          <a:cs typeface="Arial Unicode MS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ＭＳ Ｐゴシック" charset="0"/>
          <a:cs typeface="Arial Unicode MS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ＭＳ Ｐゴシック" charset="0"/>
          <a:cs typeface="Arial Unicode MS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Arial Unicode MS" pitchFamily="34" charset="-128"/>
          <a:cs typeface="Arial Unicode MS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Arial Unicode MS" pitchFamily="34" charset="-128"/>
          <a:cs typeface="Arial Unicode MS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Arial Unicode MS" pitchFamily="34" charset="-128"/>
          <a:cs typeface="Arial Unicode MS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 Black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342900" indent="-342900" algn="l" rtl="0" eaLnBrk="0" fontAlgn="base" hangingPunct="0">
        <a:spcBef>
          <a:spcPct val="75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defRPr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184150" indent="-182563" algn="l" rtl="0" eaLnBrk="0" fontAlgn="base" hangingPunct="0">
        <a:spcBef>
          <a:spcPct val="25000"/>
        </a:spcBef>
        <a:spcAft>
          <a:spcPct val="0"/>
        </a:spcAft>
        <a:buClr>
          <a:srgbClr val="F0AB00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95263" algn="l" rtl="0" eaLnBrk="0" fontAlgn="base" hangingPunct="0">
        <a:spcBef>
          <a:spcPct val="25000"/>
        </a:spcBef>
        <a:spcAft>
          <a:spcPct val="0"/>
        </a:spcAft>
        <a:buClr>
          <a:srgbClr val="666666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708025" indent="-165100" algn="l" rtl="0" eaLnBrk="0" fontAlgn="base" hangingPunct="0">
        <a:spcBef>
          <a:spcPct val="2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904875" indent="-195263" algn="l" rtl="0" eaLnBrk="0" fontAlgn="base" hangingPunct="0">
        <a:spcBef>
          <a:spcPct val="1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362075" indent="-195263" algn="l" rtl="0" eaLnBrk="1" fontAlgn="base" hangingPunct="1">
        <a:spcBef>
          <a:spcPct val="1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19275" indent="-195263" algn="l" rtl="0" eaLnBrk="1" fontAlgn="base" hangingPunct="1">
        <a:spcBef>
          <a:spcPct val="1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76475" indent="-195263" algn="l" rtl="0" eaLnBrk="1" fontAlgn="base" hangingPunct="1">
        <a:spcBef>
          <a:spcPct val="1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33675" indent="-195263" algn="l" rtl="0" eaLnBrk="1" fontAlgn="base" hangingPunct="1">
        <a:spcBef>
          <a:spcPct val="15000"/>
        </a:spcBef>
        <a:spcAft>
          <a:spcPct val="0"/>
        </a:spcAft>
        <a:buClr>
          <a:srgbClr val="666666"/>
        </a:buClr>
        <a:buSzPct val="80000"/>
        <a:buFont typeface="Arial" charset="0"/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-01.ibm.com/software/success/cssdb.nsf/advancedsearchVW?SearchView&amp;Query=%5bWebSiteProfileListTX%5d=gicss67sap+AND+(db2+and+SAP)+AND+%5bCompletedDate%5d%3e01-01-2002&amp;site=gicss67sap&amp;cty=en_us&amp;frompage=ts&amp;Start=1&amp;Count=30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-01.ibm.com/software/success/cssdb.nsf/CS/STRD-7Q3MTQ?OpenDocument&amp;Site=gicss67sap&amp;cty=en_us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-01.ibm.com/software/success/cssdb.nsf/CS/STRD-7SWJCX?OpenDocument&amp;Site=gicss67sap&amp;cty=en_us" TargetMode="External"/><Relationship Id="rId4" Type="http://schemas.openxmlformats.org/officeDocument/2006/relationships/hyperlink" Target="http://www-01.ibm.com/software/success/cssdb.nsf/CS/STRD-7N2MWS?OpenDocument&amp;Site=gicss67sap&amp;cty=en_us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ap.com/usa/solutions/business-suite/newsevents/index.epx" TargetMode="External"/><Relationship Id="rId3" Type="http://schemas.openxmlformats.org/officeDocument/2006/relationships/hyperlink" Target="http://www.sap.com/usa/solutions/business-suite/index.epx" TargetMode="External"/><Relationship Id="rId7" Type="http://schemas.openxmlformats.org/officeDocument/2006/relationships/hyperlink" Target="http://www.sap.com/usa/solutions/business-suite/brochures/index.epx" TargetMode="External"/><Relationship Id="rId12" Type="http://schemas.openxmlformats.org/officeDocument/2006/relationships/hyperlink" Target="http://www-01.ibm.com/software/info/television/index.jsp?cat=infomanagement&amp;item=xml/V675332A66255S75.xml&amp;media=video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sap.com/usa/solutions/business-suite/customers/index.epx" TargetMode="External"/><Relationship Id="rId11" Type="http://schemas.openxmlformats.org/officeDocument/2006/relationships/hyperlink" Target="http://www.sapclear.com/" TargetMode="External"/><Relationship Id="rId5" Type="http://schemas.openxmlformats.org/officeDocument/2006/relationships/hyperlink" Target="http://www.sap.com/usa/solutions/business-suite/businessbenefits/index.epx" TargetMode="External"/><Relationship Id="rId10" Type="http://schemas.openxmlformats.org/officeDocument/2006/relationships/hyperlink" Target="http://www-01.ibm.com/software/success/cssdb.nsf/advancedsearchVW?SearchView&amp;Query=%5bWebSiteProfileListTX%5d=gicss67sap+AND+(db2+and+SAP)+AND+%5bCompletedDate%5d%3e01-01-2002&amp;site=gicss67sap&amp;cty=en_us&amp;frompage=ts&amp;Start=1&amp;Count=30" TargetMode="External"/><Relationship Id="rId4" Type="http://schemas.openxmlformats.org/officeDocument/2006/relationships/hyperlink" Target="http://www.sap.com/usa/solutions/business-suite/business-processes/index.epx" TargetMode="External"/><Relationship Id="rId9" Type="http://schemas.openxmlformats.org/officeDocument/2006/relationships/hyperlink" Target="http://www-03.ibm.com/solutions/sap/us/detail/landing/J233701A22235G06.html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slideLayout" Target="../slideLayouts/slideLayout2.xml"/><Relationship Id="rId50" Type="http://schemas.openxmlformats.org/officeDocument/2006/relationships/image" Target="../media/image5.png"/><Relationship Id="rId55" Type="http://schemas.openxmlformats.org/officeDocument/2006/relationships/image" Target="../media/image10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54" Type="http://schemas.openxmlformats.org/officeDocument/2006/relationships/image" Target="../media/image9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image" Target="../media/image8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image" Target="../media/image4.pn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image" Target="../media/image7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notesSlide" Target="../notesSlides/notesSlide4.xml"/><Relationship Id="rId56" Type="http://schemas.openxmlformats.org/officeDocument/2006/relationships/image" Target="../media/image11.jpeg"/><Relationship Id="rId8" Type="http://schemas.openxmlformats.org/officeDocument/2006/relationships/tags" Target="../tags/tag9.xml"/><Relationship Id="rId51" Type="http://schemas.openxmlformats.org/officeDocument/2006/relationships/image" Target="../media/image6.png"/><Relationship Id="rId3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3.xls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_____Microsoft_Excel_97-20032.xls"/><Relationship Id="rId5" Type="http://schemas.openxmlformats.org/officeDocument/2006/relationships/image" Target="../media/image12.emf"/><Relationship Id="rId4" Type="http://schemas.openxmlformats.org/officeDocument/2006/relationships/oleObject" Target="../embeddings/_____Microsoft_Excel_97-20031.xls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49238" y="200025"/>
            <a:ext cx="5665787" cy="255905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22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22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22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22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  <a:r>
              <a:rPr lang="en-US" sz="22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/>
            </a:r>
            <a:br>
              <a:rPr lang="en-US" sz="22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</a:br>
            <a:r>
              <a:rPr lang="ru-RU" sz="2000" dirty="0" smtClean="0">
                <a:solidFill>
                  <a:srgbClr val="FFFFFF"/>
                </a:solidFill>
                <a:latin typeface="Arial"/>
                <a:ea typeface="ＭＳ Ｐゴシック"/>
              </a:rPr>
              <a:t>Откройте </a:t>
            </a:r>
            <a:r>
              <a:rPr lang="ru-RU" sz="2000" dirty="0">
                <a:solidFill>
                  <a:srgbClr val="FFFFFF"/>
                </a:solidFill>
                <a:latin typeface="Arial"/>
                <a:ea typeface="ＭＳ Ｐゴシック"/>
              </a:rPr>
              <a:t>окно в новый мир</a:t>
            </a:r>
            <a:endParaRPr lang="en-US" sz="2000" b="0" i="0" dirty="0">
              <a:solidFill>
                <a:srgbClr val="FFFFFF"/>
              </a:solidFill>
              <a:latin typeface="Arial"/>
              <a:ea typeface="ＭＳ Ｐゴシック"/>
              <a:cs typeface="+mj-cs"/>
            </a:endParaRPr>
          </a:p>
        </p:txBody>
      </p:sp>
      <p:sp>
        <p:nvSpPr>
          <p:cNvPr id="409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49238" y="3108325"/>
            <a:ext cx="5757862" cy="1752600"/>
          </a:xfrm>
          <a:ln w="12700"/>
        </p:spPr>
        <p:txBody>
          <a:bodyPr/>
          <a:lstStyle/>
          <a:p>
            <a:pPr marL="0" indent="0">
              <a:buNone/>
            </a:pPr>
            <a:r>
              <a:rPr lang="en-US" sz="2000" b="0" i="0" dirty="0" err="1">
                <a:solidFill>
                  <a:srgbClr val="666666"/>
                </a:solidFill>
                <a:ea typeface="ＭＳ Ｐゴシック"/>
              </a:rPr>
              <a:t>Отдел</a:t>
            </a:r>
            <a:r>
              <a:rPr lang="en-US" sz="2000" b="0" i="0" dirty="0">
                <a:solidFill>
                  <a:srgbClr val="666666"/>
                </a:solidFill>
                <a:ea typeface="ＭＳ Ｐゴシック"/>
              </a:rPr>
              <a:t>, </a:t>
            </a:r>
            <a:r>
              <a:rPr lang="en-US" sz="2000" b="0" i="0" dirty="0" err="1">
                <a:solidFill>
                  <a:srgbClr val="666666"/>
                </a:solidFill>
                <a:ea typeface="ＭＳ Ｐゴシック"/>
              </a:rPr>
              <a:t>управление</a:t>
            </a:r>
            <a:r>
              <a:rPr lang="en-US" sz="2000" b="0" i="0" dirty="0">
                <a:solidFill>
                  <a:srgbClr val="666666"/>
                </a:solidFill>
                <a:ea typeface="ＭＳ Ｐゴシック"/>
              </a:rPr>
              <a:t> </a:t>
            </a:r>
            <a:r>
              <a:rPr lang="en-US" sz="2000" b="0" i="0" dirty="0" err="1">
                <a:solidFill>
                  <a:srgbClr val="666666"/>
                </a:solidFill>
                <a:ea typeface="ＭＳ Ｐゴシック"/>
              </a:rPr>
              <a:t>или</a:t>
            </a:r>
            <a:r>
              <a:rPr lang="en-US" sz="2000" b="0" i="0" dirty="0">
                <a:solidFill>
                  <a:srgbClr val="666666"/>
                </a:solidFill>
                <a:ea typeface="ＭＳ Ｐゴシック"/>
              </a:rPr>
              <a:t> </a:t>
            </a:r>
            <a:r>
              <a:rPr lang="en-US" sz="2000" b="0" i="0" dirty="0" err="1">
                <a:solidFill>
                  <a:srgbClr val="666666"/>
                </a:solidFill>
                <a:ea typeface="ＭＳ Ｐゴシック"/>
              </a:rPr>
              <a:t>группа</a:t>
            </a:r>
            <a:endParaRPr lang="en-US" sz="2000" b="0" i="0" dirty="0">
              <a:solidFill>
                <a:srgbClr val="666666"/>
              </a:solidFill>
              <a:ea typeface="ＭＳ Ｐゴシック"/>
            </a:endParaRPr>
          </a:p>
          <a:p>
            <a:pPr marL="0" indent="0">
              <a:buNone/>
            </a:pPr>
            <a:r>
              <a:rPr lang="en-US" sz="2000" b="0" i="0" dirty="0" err="1">
                <a:solidFill>
                  <a:srgbClr val="666666"/>
                </a:solidFill>
                <a:ea typeface="ＭＳ Ｐゴシック"/>
              </a:rPr>
              <a:t>Дата</a:t>
            </a:r>
            <a:r>
              <a:rPr lang="en-US" sz="2000" b="0" i="0" dirty="0">
                <a:solidFill>
                  <a:srgbClr val="666666"/>
                </a:solidFill>
                <a:ea typeface="ＭＳ Ｐゴシック"/>
              </a:rPr>
              <a:t>	</a:t>
            </a:r>
          </a:p>
        </p:txBody>
      </p:sp>
      <p:pic>
        <p:nvPicPr>
          <p:cNvPr id="4100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734050" y="142875"/>
            <a:ext cx="3263900" cy="2408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4" descr="IbmSapBlackSmall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1625" y="6278563"/>
            <a:ext cx="11699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E391FD66-4D41-471D-BD63-ED2FAD1DE42B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0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379861" cy="371593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91279" y="765059"/>
            <a:ext cx="8645525" cy="5949639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</a:rPr>
              <a:t>SAP и IBM 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  <a:ea typeface="ＭＳ Ｐゴシック"/>
              </a:rPr>
              <a:t>совместно</a:t>
            </a:r>
            <a:endParaRPr lang="en-US" sz="1400" b="0" i="0" dirty="0">
              <a:solidFill>
                <a:srgbClr val="000000"/>
              </a:solidFill>
              <a:latin typeface="Arial"/>
              <a:ea typeface="ＭＳ Ｐゴシック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разую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дёжный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оюз</a:t>
            </a:r>
            <a:endParaRPr lang="en-US" sz="1400" b="0" i="0" dirty="0">
              <a:solidFill>
                <a:srgbClr val="000000"/>
              </a:solidFill>
              <a:latin typeface="Arial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>
                <a:solidFill>
                  <a:srgbClr val="000000"/>
                </a:solidFill>
                <a:latin typeface="Arial"/>
              </a:rPr>
              <a:t>IBM и SAP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едоставляю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учающи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курсы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правочник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IBM Redbooks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техническу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окументаци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и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оступ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к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ширному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ообществу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ользователей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которы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тветя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возникшие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опросы</a:t>
            </a:r>
            <a:endParaRPr lang="en-US" sz="1400" b="0" i="0" dirty="0">
              <a:solidFill>
                <a:srgbClr val="000000"/>
              </a:solidFill>
              <a:latin typeface="Arial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Групп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азработчиков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IBM DB2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асположе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в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штаб-квартир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азработчик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 –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в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лабораториях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DB2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  <a:hlinkClick r:id="rId3"/>
              </a:rPr>
              <a:t>Годы</a:t>
            </a:r>
            <a:r>
              <a:rPr lang="en-US" sz="1400" b="0" i="0" dirty="0">
                <a:solidFill>
                  <a:srgbClr val="000000"/>
                </a:solidFill>
                <a:latin typeface="Arial"/>
                <a:hlinkClick r:id="rId3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hlinkClick r:id="rId3"/>
              </a:rPr>
              <a:t>успешной</a:t>
            </a:r>
            <a:r>
              <a:rPr lang="en-US" sz="1400" b="0" i="0" dirty="0">
                <a:solidFill>
                  <a:srgbClr val="000000"/>
                </a:solidFill>
                <a:latin typeface="Arial"/>
                <a:hlinkClick r:id="rId3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hlinkClick r:id="rId3"/>
              </a:rPr>
              <a:t>эксплуатации</a:t>
            </a:r>
            <a:r>
              <a:rPr lang="en-US" sz="1400" b="0" i="0" dirty="0">
                <a:solidFill>
                  <a:srgbClr val="000000"/>
                </a:solidFill>
                <a:latin typeface="Arial"/>
                <a:hlinkClick r:id="rId3"/>
              </a:rPr>
              <a:t> </a:t>
            </a: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ам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ысок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оизводительность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>
                <a:solidFill>
                  <a:srgbClr val="000000"/>
                </a:solidFill>
                <a:latin typeface="Arial"/>
              </a:rPr>
              <a:t>DB2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занимае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едущи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мест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о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се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равнитель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испытания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оводим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, а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такж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в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отраслевых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теста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TPC-C и TPC-H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>
                <a:solidFill>
                  <a:srgbClr val="000000"/>
                </a:solidFill>
                <a:latin typeface="Arial"/>
              </a:rPr>
              <a:t>DB2 –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масштабируем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аз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ан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ешени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«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изнес-аналитик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»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снованного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на</a:t>
            </a:r>
            <a:r>
              <a:rPr lang="ru-RU" sz="1400" dirty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платформе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SAP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NetWeaver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ладающ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изкой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тоимость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горизонтального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масштабирования</a:t>
            </a:r>
            <a:endParaRPr lang="en-US" sz="1400" b="0" i="0" dirty="0">
              <a:solidFill>
                <a:srgbClr val="000000"/>
              </a:solidFill>
              <a:latin typeface="Arial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ос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оизводительност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20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%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о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равнени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с Oracle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использовани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аналогич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аппарат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редств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ешени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 Business Suite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ос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оизводительност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40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%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о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равнени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с Oracle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использовани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аналогич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аппарат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редств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ешений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 BI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грузк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администратор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БД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окращаетс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25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%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лагодар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еспрепятственной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интеграции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с SAP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через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DBA Cockpit</a:t>
            </a: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ередов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технологи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в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сфер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аз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анных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еспечивает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дёжность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инфраструктуры</a:t>
            </a:r>
            <a:endParaRPr lang="en-US" sz="1400" b="0" i="0" dirty="0">
              <a:solidFill>
                <a:srgbClr val="000000"/>
              </a:solidFill>
              <a:latin typeface="Arial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Компани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внедрил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функци</a:t>
            </a:r>
            <a:r>
              <a:rPr lang="ru-RU" sz="1400" b="0" i="0" dirty="0" err="1" smtClean="0">
                <a:solidFill>
                  <a:srgbClr val="000000"/>
                </a:solidFill>
                <a:latin typeface="Arial"/>
              </a:rPr>
              <a:t>ю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DB2 DPF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обеспечивающую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распараллеливани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БД 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для</a:t>
            </a:r>
            <a:r>
              <a:rPr lang="ru-RU" sz="1400" b="0" i="0" dirty="0" smtClean="0">
                <a:solidFill>
                  <a:srgbClr val="000000"/>
                </a:solidFill>
                <a:latin typeface="Arial"/>
              </a:rPr>
              <a:t/>
            </a:r>
            <a:br>
              <a:rPr lang="ru-RU" sz="1400" b="0" i="0" dirty="0" smtClean="0">
                <a:solidFill>
                  <a:srgbClr val="000000"/>
                </a:solidFill>
                <a:latin typeface="Arial"/>
              </a:rPr>
            </a:b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BI-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решений</a:t>
            </a:r>
            <a:r>
              <a:rPr lang="en-US" sz="14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латформе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SAP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NetWeaver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благодар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чему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достигаетс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превосходная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</a:rPr>
              <a:t>масштабируемость</a:t>
            </a:r>
            <a:r>
              <a:rPr lang="en-US" sz="1400" b="0" i="0" dirty="0">
                <a:solidFill>
                  <a:srgbClr val="000000"/>
                </a:solidFill>
                <a:latin typeface="Arial"/>
              </a:rPr>
              <a:t> и </a:t>
            </a:r>
            <a:r>
              <a:rPr lang="en-US" sz="1400" b="0" i="0" dirty="0" err="1" smtClean="0">
                <a:solidFill>
                  <a:srgbClr val="000000"/>
                </a:solidFill>
                <a:latin typeface="Arial"/>
              </a:rPr>
              <a:t>производительность</a:t>
            </a:r>
            <a:endParaRPr lang="en-US" sz="1400" b="0" i="0" dirty="0">
              <a:solidFill>
                <a:srgbClr val="000000"/>
              </a:solidFill>
              <a:latin typeface="Arial"/>
            </a:endParaRP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ea typeface="ＭＳ Ｐゴシック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 bwMode="auto">
          <a:xfrm>
            <a:off x="571500" y="1295400"/>
            <a:ext cx="8140700" cy="5181600"/>
          </a:xfrm>
          <a:prstGeom prst="roundRect">
            <a:avLst>
              <a:gd name="adj" fmla="val 5147"/>
            </a:avLst>
          </a:prstGeom>
          <a:gradFill>
            <a:gsLst>
              <a:gs pos="0">
                <a:srgbClr val="99B7C7"/>
              </a:gs>
              <a:gs pos="50000">
                <a:srgbClr val="86A9BC"/>
              </a:gs>
              <a:gs pos="100000">
                <a:srgbClr val="86A9BC"/>
              </a:gs>
            </a:gsLst>
            <a:lin ang="5400000" scaled="0"/>
          </a:gra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1331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6EE186BD-BC4B-4423-8E35-18E94FCB5533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1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318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448099" cy="426184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33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9238" y="887413"/>
            <a:ext cx="8645525" cy="300037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Ценность для клиента: уровень высшего руководства и направлений бизнеса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ea typeface="ＭＳ Ｐゴシック"/>
            </a:endParaRPr>
          </a:p>
        </p:txBody>
      </p:sp>
      <p:sp>
        <p:nvSpPr>
          <p:cNvPr id="12293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4378106" y="1636468"/>
            <a:ext cx="4054475" cy="1520825"/>
          </a:xfrm>
          <a:prstGeom prst="rect">
            <a:avLst/>
          </a:prstGeom>
          <a:gradFill>
            <a:gsLst>
              <a:gs pos="0">
                <a:schemeClr val="bg2">
                  <a:lumMod val="90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46800" rIns="36000" bIns="46800" anchor="ctr"/>
          <a:lstStyle>
            <a:lvl1pPr marL="244475" indent="-2444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0"/>
                <a:cs typeface="Arial Unicode MS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charset="0"/>
                <a:cs typeface="Arial Unicode MS" charset="0"/>
              </a:defRPr>
            </a:lvl9pPr>
          </a:lstStyle>
          <a:p>
            <a:pPr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высокая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роизводительность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BS7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благодаря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использованию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ередовой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технологии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сжатия</a:t>
            </a:r>
            <a:endParaRPr lang="en-US" sz="1100" b="1" i="0" dirty="0">
              <a:latin typeface="Arial"/>
              <a:ea typeface="ＭＳ Ｐゴシック"/>
              <a:cs typeface="+mn-cs"/>
            </a:endParaRPr>
          </a:p>
          <a:p>
            <a:pPr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Быстро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редоставлени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ru-RU" sz="1100" b="1" i="0" dirty="0" smtClean="0">
                <a:latin typeface="Arial"/>
                <a:ea typeface="ＭＳ Ｐゴシック"/>
                <a:cs typeface="+mn-cs"/>
              </a:rPr>
              <a:t>более подробной</a:t>
            </a:r>
            <a:r>
              <a:rPr lang="en-US" sz="11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информации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ользователей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SAP </a:t>
            </a:r>
          </a:p>
          <a:p>
            <a:pPr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риняти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обоснованных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роисходит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быстрее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ввиду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высокой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производительности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специализированных</a:t>
            </a:r>
            <a:r>
              <a:rPr lang="en-US" sz="11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ＭＳ Ｐゴシック"/>
                <a:cs typeface="+mn-cs"/>
              </a:rPr>
              <a:t>запросов</a:t>
            </a:r>
            <a:endParaRPr lang="en-US" sz="11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229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881063" y="1889125"/>
            <a:ext cx="2109787" cy="11239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2"/>
            </a:solidFill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>
                <a:solidFill>
                  <a:srgbClr val="FFFFFF"/>
                </a:solidFill>
                <a:latin typeface="Arial"/>
                <a:ea typeface="Arial Unicode MS"/>
                <a:cs typeface="+mn-cs"/>
              </a:rPr>
              <a:t>Оптимизация производительности</a:t>
            </a:r>
          </a:p>
        </p:txBody>
      </p:sp>
      <p:sp>
        <p:nvSpPr>
          <p:cNvPr id="1229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4346575" y="3287713"/>
            <a:ext cx="4054475" cy="1520825"/>
          </a:xfrm>
          <a:prstGeom prst="rect">
            <a:avLst/>
          </a:prstGeom>
          <a:gradFill>
            <a:gsLst>
              <a:gs pos="0">
                <a:srgbClr val="B8B8B8"/>
              </a:gs>
              <a:gs pos="50000">
                <a:srgbClr val="D9D9D9"/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Оптимизация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использования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ИТ-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инфраструктуры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smtClean="0">
                <a:latin typeface="Arial"/>
                <a:ea typeface="Arial Unicode MS"/>
                <a:cs typeface="+mn-cs"/>
              </a:rPr>
              <a:t>и</a:t>
            </a:r>
            <a:r>
              <a:rPr lang="ru-RU" sz="1100" b="1" i="0" dirty="0" smtClean="0">
                <a:latin typeface="Arial"/>
                <a:ea typeface="Arial Unicode MS"/>
                <a:cs typeface="+mn-cs"/>
              </a:rPr>
              <a:t> </a:t>
            </a:r>
            <a:r>
              <a:rPr lang="en-US" sz="1100" b="1" i="0" dirty="0" err="1" smtClean="0">
                <a:latin typeface="Arial"/>
                <a:ea typeface="Arial Unicode MS"/>
                <a:cs typeface="+mn-cs"/>
              </a:rPr>
              <a:t>ресурсов</a:t>
            </a:r>
            <a:endParaRPr lang="en-US" sz="1100" b="1" i="0" dirty="0">
              <a:latin typeface="Arial"/>
              <a:ea typeface="Arial Unicode MS"/>
              <a:cs typeface="+mn-cs"/>
            </a:endParaRPr>
          </a:p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Повыше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доступности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систем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SAP и BS7</a:t>
            </a:r>
          </a:p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Масштабирова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SAP BS7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без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создания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дополнительной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сложности</a:t>
            </a:r>
            <a:endParaRPr lang="en-US" sz="1100" b="1" i="0" dirty="0">
              <a:latin typeface="Arial"/>
              <a:ea typeface="Arial Unicode MS"/>
              <a:cs typeface="+mn-cs"/>
            </a:endParaRPr>
          </a:p>
        </p:txBody>
      </p:sp>
      <p:sp>
        <p:nvSpPr>
          <p:cNvPr id="12296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>
            <a:off x="4346575" y="4872038"/>
            <a:ext cx="4054475" cy="1520825"/>
          </a:xfrm>
          <a:prstGeom prst="rect">
            <a:avLst/>
          </a:prstGeom>
          <a:gradFill>
            <a:gsLst>
              <a:gs pos="0">
                <a:srgbClr val="B8B8B8"/>
              </a:gs>
              <a:gs pos="50000">
                <a:srgbClr val="D9D9D9"/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затрат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на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управляемы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системы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хранения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для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SAP</a:t>
            </a: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требований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к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инфраструктур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SAP</a:t>
            </a: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Сокраще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технических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обновлений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базы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данных</a:t>
            </a:r>
            <a:endParaRPr lang="en-US" sz="1100" b="1" i="0" dirty="0">
              <a:latin typeface="Arial"/>
              <a:ea typeface="Arial Unicode MS"/>
              <a:cs typeface="+mn-cs"/>
            </a:endParaRP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10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затрат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на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администрирование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базы</a:t>
            </a:r>
            <a:r>
              <a:rPr lang="en-US" sz="11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100" b="1" i="0" dirty="0" err="1">
                <a:latin typeface="Arial"/>
                <a:ea typeface="Arial Unicode MS"/>
                <a:cs typeface="+mn-cs"/>
              </a:rPr>
              <a:t>данных</a:t>
            </a:r>
            <a:endParaRPr lang="en-US" sz="1100" b="1" i="0" dirty="0">
              <a:latin typeface="Arial"/>
              <a:ea typeface="Arial Unicode MS"/>
              <a:cs typeface="+mn-cs"/>
            </a:endParaRPr>
          </a:p>
        </p:txBody>
      </p:sp>
      <p:sp>
        <p:nvSpPr>
          <p:cNvPr id="12297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white">
          <a:xfrm>
            <a:off x="881063" y="3500438"/>
            <a:ext cx="2109787" cy="11239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2"/>
            </a:solidFill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>
                <a:solidFill>
                  <a:srgbClr val="FFFFFF"/>
                </a:solidFill>
                <a:latin typeface="Arial"/>
                <a:ea typeface="Arial Unicode MS"/>
                <a:cs typeface="+mn-cs"/>
              </a:rPr>
              <a:t>Снижение операционного риска</a:t>
            </a:r>
          </a:p>
        </p:txBody>
      </p:sp>
      <p:sp>
        <p:nvSpPr>
          <p:cNvPr id="12298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white">
          <a:xfrm>
            <a:off x="881063" y="5073650"/>
            <a:ext cx="2109787" cy="11239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2"/>
            </a:solidFill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>
                <a:solidFill>
                  <a:srgbClr val="FFFFFF"/>
                </a:solidFill>
                <a:latin typeface="Arial"/>
                <a:ea typeface="Arial Unicode MS"/>
                <a:cs typeface="+mn-cs"/>
              </a:rPr>
              <a:t>Снижение расходов</a:t>
            </a:r>
          </a:p>
        </p:txBody>
      </p:sp>
      <p:pic>
        <p:nvPicPr>
          <p:cNvPr id="11" name="Picture 30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white">
          <a:xfrm>
            <a:off x="3233738" y="3825875"/>
            <a:ext cx="14287" cy="7938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lg"/>
          </a:ln>
          <a:effectLst>
            <a:outerShdw dist="17961" dir="2700000" algn="ctr" rotWithShape="0">
              <a:srgbClr val="7A7A7A"/>
            </a:outerShdw>
          </a:effectLst>
        </p:spPr>
      </p:pic>
      <p:sp>
        <p:nvSpPr>
          <p:cNvPr id="12300" name="AutoShape 14"/>
          <p:cNvSpPr>
            <a:spLocks noChangeArrowheads="1"/>
          </p:cNvSpPr>
          <p:nvPr/>
        </p:nvSpPr>
        <p:spPr bwMode="auto">
          <a:xfrm>
            <a:off x="3230563" y="2274888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accent1"/>
              </a:gs>
              <a:gs pos="50000">
                <a:srgbClr val="FFCF37"/>
              </a:gs>
              <a:gs pos="100000">
                <a:srgbClr val="FFE89F"/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12301" name="AutoShape 15"/>
          <p:cNvSpPr>
            <a:spLocks noChangeArrowheads="1"/>
          </p:cNvSpPr>
          <p:nvPr/>
        </p:nvSpPr>
        <p:spPr bwMode="auto">
          <a:xfrm>
            <a:off x="3230563" y="3900488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accent1"/>
              </a:gs>
              <a:gs pos="50000">
                <a:srgbClr val="FFCF37"/>
              </a:gs>
              <a:gs pos="100000">
                <a:srgbClr val="FFE89F"/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12302" name="AutoShape 16"/>
          <p:cNvSpPr>
            <a:spLocks noChangeArrowheads="1"/>
          </p:cNvSpPr>
          <p:nvPr/>
        </p:nvSpPr>
        <p:spPr bwMode="auto">
          <a:xfrm>
            <a:off x="3230563" y="5410200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accent1"/>
              </a:gs>
              <a:gs pos="50000">
                <a:srgbClr val="FFCF37"/>
              </a:gs>
              <a:gs pos="100000">
                <a:srgbClr val="FFE89F"/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marL="169863" indent="-169863"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b="1">
              <a:ea typeface="Arial Unicode MS" pitchFamily="34" charset="-128"/>
            </a:endParaRPr>
          </a:p>
        </p:txBody>
      </p:sp>
      <p:sp>
        <p:nvSpPr>
          <p:cNvPr id="13348" name="Text Box 18"/>
          <p:cNvSpPr txBox="1">
            <a:spLocks noChangeArrowheads="1"/>
          </p:cNvSpPr>
          <p:nvPr/>
        </p:nvSpPr>
        <p:spPr bwMode="auto">
          <a:xfrm>
            <a:off x="1182688" y="1309688"/>
            <a:ext cx="15430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3736" indent="-173736" algn="ctr">
              <a:buNone/>
            </a:pPr>
            <a:r>
              <a:rPr lang="en-US" sz="1600" b="1" i="0">
                <a:latin typeface="Arial"/>
                <a:ea typeface="ＭＳ Ｐゴシック"/>
                <a:cs typeface="+mn-cs"/>
              </a:rPr>
              <a:t>DB2 для SAP</a:t>
            </a:r>
          </a:p>
        </p:txBody>
      </p:sp>
      <p:sp>
        <p:nvSpPr>
          <p:cNvPr id="13349" name="Text Box 23"/>
          <p:cNvSpPr txBox="1">
            <a:spLocks noChangeArrowheads="1"/>
          </p:cNvSpPr>
          <p:nvPr/>
        </p:nvSpPr>
        <p:spPr bwMode="auto">
          <a:xfrm>
            <a:off x="5412773" y="1309688"/>
            <a:ext cx="18478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3736" indent="-173736" algn="ctr">
              <a:buNone/>
            </a:pPr>
            <a:r>
              <a:rPr lang="en-US" sz="1600" b="1" i="0" dirty="0" err="1">
                <a:latin typeface="Arial"/>
                <a:ea typeface="ＭＳ Ｐゴシック"/>
                <a:cs typeface="+mn-cs"/>
              </a:rPr>
              <a:t>Ценность</a:t>
            </a:r>
            <a:r>
              <a:rPr lang="en-US" sz="16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1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16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1" i="0" dirty="0" err="1">
                <a:latin typeface="Arial"/>
                <a:ea typeface="ＭＳ Ｐゴシック"/>
                <a:cs typeface="+mn-cs"/>
              </a:rPr>
              <a:t>бизнеса</a:t>
            </a:r>
            <a:endParaRPr lang="en-US" sz="1600" b="1" i="0" dirty="0">
              <a:latin typeface="Arial"/>
              <a:ea typeface="ＭＳ Ｐゴシック"/>
              <a:cs typeface="+mn-cs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 bwMode="auto">
          <a:xfrm>
            <a:off x="571500" y="1295400"/>
            <a:ext cx="8140700" cy="5181600"/>
          </a:xfrm>
          <a:prstGeom prst="roundRect">
            <a:avLst>
              <a:gd name="adj" fmla="val 5147"/>
            </a:avLst>
          </a:prstGeom>
          <a:gradFill>
            <a:gsLst>
              <a:gs pos="0">
                <a:srgbClr val="99B7C7"/>
              </a:gs>
              <a:gs pos="50000">
                <a:srgbClr val="86A9BC"/>
              </a:gs>
              <a:gs pos="100000">
                <a:srgbClr val="86A9BC"/>
              </a:gs>
            </a:gsLst>
            <a:lin ang="5400000" scaled="0"/>
          </a:gra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1434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590140C2-67F7-48CD-AD35-680857325420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2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342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448099" cy="426184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3317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4294023" y="1751140"/>
            <a:ext cx="4054475" cy="1620289"/>
          </a:xfrm>
          <a:prstGeom prst="rect">
            <a:avLst/>
          </a:prstGeom>
          <a:gradFill>
            <a:gsLst>
              <a:gs pos="0">
                <a:srgbClr val="B8B8B8"/>
              </a:gs>
              <a:gs pos="50000">
                <a:srgbClr val="D9D9D9"/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46800" rIns="36000" bIns="46800" anchor="ctr"/>
          <a:lstStyle/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>
                <a:latin typeface="Arial"/>
                <a:ea typeface="Arial Unicode MS"/>
                <a:cs typeface="+mn-cs"/>
              </a:rPr>
              <a:t>DB2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занимае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едущ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позици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в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равнительны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теста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,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ертифицированны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SAP</a:t>
            </a: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объёмов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етевого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трафик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з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чё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жат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данных</a:t>
            </a:r>
            <a:endParaRPr lang="en-US" sz="1050" b="1" i="0" dirty="0">
              <a:latin typeface="Arial"/>
              <a:ea typeface="Arial Unicode MS"/>
              <a:cs typeface="+mn-cs"/>
            </a:endParaRP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>
                <a:latin typeface="Arial"/>
                <a:ea typeface="Arial Unicode MS"/>
                <a:cs typeface="+mn-cs"/>
              </a:rPr>
              <a:t>DPF (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Распредел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базы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данны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)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обеспечивае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неограниченны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озможност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горизонтального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масштабирования</a:t>
            </a:r>
            <a:endParaRPr lang="en-US" sz="1050" b="1" i="0" dirty="0">
              <a:latin typeface="Arial"/>
              <a:ea typeface="Arial Unicode MS"/>
              <a:cs typeface="+mn-cs"/>
            </a:endParaRP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>
                <a:latin typeface="Arial"/>
                <a:ea typeface="Arial Unicode MS"/>
                <a:cs typeface="+mn-cs"/>
              </a:rPr>
              <a:t>Multi-Dimensional Clustering improves </a:t>
            </a:r>
            <a:br>
              <a:rPr lang="en-US" sz="1050" b="1" i="0" dirty="0">
                <a:latin typeface="Arial"/>
                <a:ea typeface="Arial Unicode MS"/>
                <a:cs typeface="+mn-cs"/>
              </a:rPr>
            </a:br>
            <a:r>
              <a:rPr lang="en-US" sz="1050" b="1" i="0" dirty="0">
                <a:latin typeface="Arial"/>
                <a:ea typeface="Arial Unicode MS"/>
                <a:cs typeface="+mn-cs"/>
              </a:rPr>
              <a:t>ad hoc query performance</a:t>
            </a:r>
          </a:p>
        </p:txBody>
      </p:sp>
      <p:sp>
        <p:nvSpPr>
          <p:cNvPr id="13318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4294023" y="3506787"/>
            <a:ext cx="4054475" cy="1520825"/>
          </a:xfrm>
          <a:prstGeom prst="rect">
            <a:avLst/>
          </a:prstGeom>
          <a:gradFill>
            <a:gsLst>
              <a:gs pos="0">
                <a:srgbClr val="B8B8B8"/>
              </a:gs>
              <a:gs pos="50000">
                <a:srgbClr val="D9D9D9"/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трудозатра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администратор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БД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н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smtClean="0">
                <a:latin typeface="Arial"/>
                <a:ea typeface="Arial Unicode MS"/>
                <a:cs typeface="+mn-cs"/>
              </a:rPr>
              <a:t>25</a:t>
            </a:r>
            <a:r>
              <a:rPr lang="ru-RU" sz="1050" b="1" i="0" dirty="0" smtClean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smtClean="0">
                <a:latin typeface="Arial"/>
                <a:ea typeface="Arial Unicode MS"/>
                <a:cs typeface="+mn-cs"/>
              </a:rPr>
              <a:t>%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благодар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интегрированному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Data Cockpit</a:t>
            </a:r>
          </a:p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Повыш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доступност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базы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данны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виду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интегрированны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озможностей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резервного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копирован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,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осстановлен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и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истемы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аварийного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осстановлен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высокой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доступност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(HADR)</a:t>
            </a:r>
          </a:p>
          <a:p>
            <a:pPr marL="182880" indent="-182880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Единый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источник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услуг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и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технической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поддержк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посредством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истемы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онлайнового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обслуживан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SAP  </a:t>
            </a:r>
          </a:p>
        </p:txBody>
      </p:sp>
      <p:sp>
        <p:nvSpPr>
          <p:cNvPr id="13319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4294023" y="5110163"/>
            <a:ext cx="4054475" cy="1255712"/>
          </a:xfrm>
          <a:prstGeom prst="rect">
            <a:avLst/>
          </a:prstGeom>
          <a:gradFill>
            <a:gsLst>
              <a:gs pos="0">
                <a:srgbClr val="B8B8B8"/>
              </a:gs>
              <a:gs pos="50000">
                <a:srgbClr val="D9D9D9"/>
              </a:gs>
              <a:gs pos="100000">
                <a:srgbClr val="DEDEDE"/>
              </a:gs>
            </a:gsLst>
            <a:lin ang="5400000" scaled="0"/>
          </a:gradFill>
          <a:ln w="28575" algn="ctr">
            <a:solidFill>
              <a:schemeClr val="folHlink"/>
            </a:solidFill>
            <a:miter lim="800000"/>
            <a:headEnd/>
            <a:tailEnd type="none" w="sm" len="lg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требований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к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истем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хранения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BS7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н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smtClean="0">
                <a:latin typeface="Arial"/>
                <a:ea typeface="Arial Unicode MS"/>
                <a:cs typeface="+mn-cs"/>
              </a:rPr>
              <a:t>40</a:t>
            </a:r>
            <a:r>
              <a:rPr lang="ru-RU" sz="1050" b="1" i="0" dirty="0" smtClean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smtClean="0">
                <a:latin typeface="Arial"/>
                <a:ea typeface="Arial Unicode MS"/>
                <a:cs typeface="+mn-cs"/>
              </a:rPr>
              <a:t>%</a:t>
            </a:r>
            <a:endParaRPr lang="en-US" sz="1050" b="1" i="0" dirty="0">
              <a:latin typeface="Arial"/>
              <a:ea typeface="Arial Unicode MS"/>
              <a:cs typeface="+mn-cs"/>
            </a:endParaRP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затра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на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серверную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инфраструктуру</a:t>
            </a:r>
            <a:endParaRPr lang="en-US" sz="1050" b="1" i="0" dirty="0">
              <a:latin typeface="Arial"/>
              <a:ea typeface="Arial Unicode MS"/>
              <a:cs typeface="+mn-cs"/>
            </a:endParaRP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Нет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необходимости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в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излишни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обновлениях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БД</a:t>
            </a:r>
          </a:p>
          <a:p>
            <a:pPr marL="246888" indent="-246888" algn="l">
              <a:spcBef>
                <a:spcPts val="168"/>
              </a:spcBef>
              <a:spcAft>
                <a:spcPts val="168"/>
              </a:spcAft>
              <a:buClr>
                <a:srgbClr val="44697D"/>
              </a:buClr>
              <a:buSzPct val="80000"/>
              <a:buFont typeface="Wingdings"/>
              <a:buChar char="n"/>
            </a:pPr>
            <a:r>
              <a:rPr lang="en-US" sz="1050" b="1" i="0" dirty="0" err="1">
                <a:latin typeface="Arial"/>
                <a:ea typeface="Arial Unicode MS"/>
                <a:cs typeface="+mn-cs"/>
              </a:rPr>
              <a:t>Полностью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готовое</a:t>
            </a:r>
            <a:r>
              <a:rPr lang="en-US" sz="105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050" b="1" i="0" dirty="0" err="1">
                <a:latin typeface="Arial"/>
                <a:ea typeface="Arial Unicode MS"/>
                <a:cs typeface="+mn-cs"/>
              </a:rPr>
              <a:t>решение</a:t>
            </a:r>
            <a:endParaRPr lang="en-US" sz="1050" b="1" i="0" dirty="0">
              <a:latin typeface="Arial"/>
              <a:ea typeface="Arial Unicode MS"/>
              <a:cs typeface="+mn-cs"/>
            </a:endParaRPr>
          </a:p>
        </p:txBody>
      </p:sp>
      <p:pic>
        <p:nvPicPr>
          <p:cNvPr id="8" name="Picture 30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white">
          <a:xfrm>
            <a:off x="3233738" y="3798888"/>
            <a:ext cx="14287" cy="7937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lg"/>
          </a:ln>
          <a:effectLst>
            <a:outerShdw dist="17961" dir="2700000" algn="ctr" rotWithShape="0">
              <a:srgbClr val="7A7A7A"/>
            </a:outerShdw>
          </a:effectLst>
        </p:spPr>
      </p:pic>
      <p:sp>
        <p:nvSpPr>
          <p:cNvPr id="13321" name="AutoShape 10"/>
          <p:cNvSpPr>
            <a:spLocks noChangeArrowheads="1"/>
          </p:cNvSpPr>
          <p:nvPr/>
        </p:nvSpPr>
        <p:spPr bwMode="auto">
          <a:xfrm>
            <a:off x="3230563" y="2247900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rgbClr val="4E7890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14356" name="Text Box 13"/>
          <p:cNvSpPr txBox="1">
            <a:spLocks noChangeArrowheads="1"/>
          </p:cNvSpPr>
          <p:nvPr/>
        </p:nvSpPr>
        <p:spPr bwMode="auto">
          <a:xfrm>
            <a:off x="1031875" y="1328738"/>
            <a:ext cx="15430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3736" indent="-173736" algn="ctr">
              <a:buNone/>
            </a:pPr>
            <a:r>
              <a:rPr lang="en-US" sz="1600" b="1" i="0">
                <a:latin typeface="Arial"/>
                <a:ea typeface="ＭＳ Ｐゴシック"/>
                <a:cs typeface="+mn-cs"/>
              </a:rPr>
              <a:t>DB2 для SAP</a:t>
            </a:r>
          </a:p>
        </p:txBody>
      </p:sp>
      <p:sp>
        <p:nvSpPr>
          <p:cNvPr id="14357" name="Text Box 14"/>
          <p:cNvSpPr txBox="1">
            <a:spLocks noChangeArrowheads="1"/>
          </p:cNvSpPr>
          <p:nvPr/>
        </p:nvSpPr>
        <p:spPr bwMode="auto">
          <a:xfrm>
            <a:off x="5152424" y="1328738"/>
            <a:ext cx="21145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3736" indent="-173736" algn="ctr">
              <a:buNone/>
            </a:pPr>
            <a:r>
              <a:rPr lang="en-US" sz="1600" b="1" i="0" dirty="0" err="1">
                <a:latin typeface="Arial"/>
                <a:ea typeface="ＭＳ Ｐゴシック"/>
                <a:cs typeface="+mn-cs"/>
              </a:rPr>
              <a:t>Преимущества</a:t>
            </a:r>
            <a:r>
              <a:rPr lang="en-US" sz="16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1" i="0" dirty="0" err="1">
                <a:latin typeface="Arial"/>
                <a:ea typeface="ＭＳ Ｐゴシック"/>
                <a:cs typeface="+mn-cs"/>
              </a:rPr>
              <a:t>технологий</a:t>
            </a:r>
            <a:endParaRPr lang="en-US" sz="16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332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>
            <a:off x="819150" y="1933575"/>
            <a:ext cx="2109788" cy="1123950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>
                <a:latin typeface="Arial"/>
                <a:ea typeface="Arial Unicode MS"/>
                <a:cs typeface="+mn-cs"/>
              </a:rPr>
              <a:t>Оптимизация производительности</a:t>
            </a:r>
          </a:p>
        </p:txBody>
      </p:sp>
      <p:sp>
        <p:nvSpPr>
          <p:cNvPr id="13327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white">
          <a:xfrm>
            <a:off x="819150" y="3527425"/>
            <a:ext cx="2109788" cy="1123950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 dirty="0" err="1">
                <a:latin typeface="Arial"/>
                <a:ea typeface="Arial Unicode MS"/>
                <a:cs typeface="+mn-cs"/>
              </a:rPr>
              <a:t>Снижение</a:t>
            </a:r>
            <a:r>
              <a:rPr lang="en-US" sz="14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400" b="1" i="0" dirty="0" err="1">
                <a:latin typeface="Arial"/>
                <a:ea typeface="Arial Unicode MS"/>
                <a:cs typeface="+mn-cs"/>
              </a:rPr>
              <a:t>операционного</a:t>
            </a:r>
            <a:r>
              <a:rPr lang="en-US" sz="1400" b="1" i="0" dirty="0">
                <a:latin typeface="Arial"/>
                <a:ea typeface="Arial Unicode MS"/>
                <a:cs typeface="+mn-cs"/>
              </a:rPr>
              <a:t> </a:t>
            </a:r>
            <a:r>
              <a:rPr lang="en-US" sz="1400" b="1" i="0" dirty="0" err="1">
                <a:latin typeface="Arial"/>
                <a:ea typeface="Arial Unicode MS"/>
                <a:cs typeface="+mn-cs"/>
              </a:rPr>
              <a:t>риска</a:t>
            </a:r>
            <a:endParaRPr lang="en-US" sz="1400" b="1" i="0" dirty="0">
              <a:latin typeface="Arial"/>
              <a:ea typeface="Arial Unicode MS"/>
              <a:cs typeface="+mn-cs"/>
            </a:endParaRPr>
          </a:p>
        </p:txBody>
      </p:sp>
      <p:sp>
        <p:nvSpPr>
          <p:cNvPr id="13328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white">
          <a:xfrm>
            <a:off x="819150" y="5110163"/>
            <a:ext cx="2109788" cy="1123950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 type="none" w="sm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36000" tIns="46800" rIns="36000" bIns="46800" anchor="ctr"/>
          <a:lstStyle/>
          <a:p>
            <a:pPr algn="ctr">
              <a:buNone/>
            </a:pPr>
            <a:r>
              <a:rPr lang="en-US" sz="1400" b="1" i="0">
                <a:latin typeface="Arial"/>
                <a:ea typeface="Arial Unicode MS"/>
                <a:cs typeface="+mn-cs"/>
              </a:rPr>
              <a:t>Снижение расходов</a:t>
            </a:r>
          </a:p>
        </p:txBody>
      </p:sp>
      <p:sp>
        <p:nvSpPr>
          <p:cNvPr id="14367" name="Rectangle 3"/>
          <p:cNvSpPr txBox="1">
            <a:spLocks noChangeArrowheads="1"/>
          </p:cNvSpPr>
          <p:nvPr/>
        </p:nvSpPr>
        <p:spPr bwMode="gray">
          <a:xfrm>
            <a:off x="699623" y="887413"/>
            <a:ext cx="4392612" cy="3000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>
              <a:spcBef>
                <a:spcPts val="1620"/>
              </a:spcBef>
              <a:buNone/>
            </a:pPr>
            <a:r>
              <a:rPr lang="en-US" sz="1800" b="0" i="0" dirty="0" err="1">
                <a:latin typeface="Arial"/>
                <a:ea typeface="ＭＳ Ｐゴシック"/>
                <a:cs typeface="+mn-cs"/>
              </a:rPr>
              <a:t>Ценность</a:t>
            </a:r>
            <a:r>
              <a:rPr lang="en-US" sz="1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1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ＭＳ Ｐゴシック"/>
                <a:cs typeface="+mn-cs"/>
              </a:rPr>
              <a:t>клиента</a:t>
            </a:r>
            <a:r>
              <a:rPr lang="en-US" sz="1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ru-RU" sz="1800" b="0" i="0" dirty="0" smtClean="0">
                <a:latin typeface="Arial"/>
                <a:ea typeface="ＭＳ Ｐゴシック"/>
                <a:cs typeface="+mn-cs"/>
              </a:rPr>
              <a:t>–</a:t>
            </a:r>
            <a:r>
              <a:rPr lang="en-US" sz="1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ＭＳ Ｐゴシック"/>
                <a:cs typeface="+mn-cs"/>
              </a:rPr>
              <a:t>технологии</a:t>
            </a:r>
            <a:endParaRPr lang="en-US" sz="1800" b="0" i="0" dirty="0">
              <a:latin typeface="Arial"/>
              <a:ea typeface="ＭＳ Ｐゴシック"/>
              <a:cs typeface="+mn-cs"/>
            </a:endParaRPr>
          </a:p>
          <a:p>
            <a:pPr algn="l">
              <a:spcBef>
                <a:spcPts val="1620"/>
              </a:spcBef>
              <a:buNone/>
            </a:pPr>
            <a:endParaRPr lang="en-US" sz="1800" dirty="0" smtClean="0"/>
          </a:p>
        </p:txBody>
      </p:sp>
      <p:sp>
        <p:nvSpPr>
          <p:cNvPr id="20" name="AutoShape 10"/>
          <p:cNvSpPr>
            <a:spLocks noChangeArrowheads="1"/>
          </p:cNvSpPr>
          <p:nvPr/>
        </p:nvSpPr>
        <p:spPr bwMode="auto">
          <a:xfrm>
            <a:off x="3230563" y="3860800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rgbClr val="4E7890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  <p:sp>
        <p:nvSpPr>
          <p:cNvPr id="21" name="AutoShape 10"/>
          <p:cNvSpPr>
            <a:spLocks noChangeArrowheads="1"/>
          </p:cNvSpPr>
          <p:nvPr/>
        </p:nvSpPr>
        <p:spPr bwMode="auto">
          <a:xfrm>
            <a:off x="3230563" y="5511800"/>
            <a:ext cx="942975" cy="406400"/>
          </a:xfrm>
          <a:prstGeom prst="rightArrow">
            <a:avLst>
              <a:gd name="adj1" fmla="val 50000"/>
              <a:gd name="adj2" fmla="val 58008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50000">
                <a:srgbClr val="4E7890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ea typeface="Arial Unicode MS" pitchFamily="34" charset="-128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C3FA6A15-A4D8-4978-B391-BE016615B848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3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625520" cy="398888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0188" y="830263"/>
            <a:ext cx="8645525" cy="1379537"/>
          </a:xfrm>
        </p:spPr>
        <p:txBody>
          <a:bodyPr/>
          <a:lstStyle/>
          <a:p>
            <a:pPr marL="182880" lvl="1" indent="-18288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US" sz="18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AP и IBM </a:t>
            </a:r>
            <a:r>
              <a:rPr lang="en-US" sz="18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едлагают</a:t>
            </a:r>
            <a:endParaRPr lang="en-US" sz="18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есплатно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чально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буч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лиентов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аке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беспечен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изводительности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Миграционн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аке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фиксирован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ене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D773793E-2518-4655-966C-AFED2E6F352B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4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489043" cy="439832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230188" y="830263"/>
            <a:ext cx="8645525" cy="28146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2880" lvl="1" indent="-182880" algn="l">
              <a:spcBef>
                <a:spcPts val="540"/>
              </a:spcBef>
              <a:buNone/>
            </a:pPr>
            <a:r>
              <a:rPr lang="en-US" sz="1800" b="0" i="0">
                <a:latin typeface="Arial"/>
                <a:ea typeface="+mn-ea"/>
                <a:cs typeface="+mn-cs"/>
              </a:rPr>
              <a:t>Бесплатное начальное обучение клиентов</a:t>
            </a: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Включает</a:t>
            </a: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Нулевые затраты</a:t>
            </a: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2 дня обучения для 3 администраторов БД</a:t>
            </a: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Выгоды</a:t>
            </a: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Минимальное обучение</a:t>
            </a: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Минимальные затраты</a:t>
            </a: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>
                <a:latin typeface="Arial"/>
                <a:ea typeface="+mn-ea"/>
                <a:cs typeface="+mn-cs"/>
              </a:rPr>
              <a:t>Администратор БД получает возможность полностью пользоваться преимуществами решений SAP и работать c ними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230188" y="830263"/>
            <a:ext cx="8645525" cy="28146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2880" lvl="1" indent="-182880" algn="l">
              <a:spcBef>
                <a:spcPts val="540"/>
              </a:spcBef>
              <a:buNone/>
            </a:pPr>
            <a:r>
              <a:rPr lang="en-US" sz="1800" b="0" i="0" dirty="0" err="1">
                <a:latin typeface="Arial"/>
                <a:ea typeface="+mn-ea"/>
                <a:cs typeface="+mn-cs"/>
              </a:rPr>
              <a:t>Пакет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обеспечения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производительности</a:t>
            </a:r>
            <a:endParaRPr lang="en-US" sz="1800" b="0" i="0" dirty="0"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ключает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Полный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день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рактических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занятий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лиентом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Оценк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влияния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омощью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моделирования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окупаемости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Оценк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возможных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размеров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экономи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возникающей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утем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экономи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мест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на</a:t>
            </a:r>
            <a:r>
              <a:rPr lang="ru-RU" dirty="0">
                <a:latin typeface="Arial"/>
                <a:ea typeface="+mn-ea"/>
              </a:rPr>
              <a:t> 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дисках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настройк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роизводительност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управления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системой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ыгоды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Предложени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лиенту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ru-RU" sz="1600" b="0" i="0" dirty="0" smtClean="0"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 smtClean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оптимизаци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использовани</a:t>
            </a:r>
            <a:r>
              <a:rPr lang="ru-RU" sz="1600" b="0" i="0" dirty="0" err="1" smtClean="0">
                <a:latin typeface="Arial"/>
                <a:ea typeface="+mn-ea"/>
                <a:cs typeface="+mn-cs"/>
              </a:rPr>
              <a:t>ю</a:t>
            </a:r>
            <a:r>
              <a:rPr lang="en-US" sz="1600" b="0" i="0" dirty="0" smtClean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его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ИТ-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инфраструктуры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оторую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используют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решения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SAP</a:t>
            </a: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FDECF0AB-787F-4FED-942E-07752754341E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5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7412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448099" cy="385241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230188" y="830263"/>
            <a:ext cx="8645525" cy="28146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2880" lvl="1" indent="-182880" algn="l">
              <a:spcBef>
                <a:spcPts val="540"/>
              </a:spcBef>
              <a:buNone/>
            </a:pPr>
            <a:r>
              <a:rPr lang="en-US" sz="1800" b="0" i="0" dirty="0" err="1">
                <a:latin typeface="Arial"/>
                <a:ea typeface="+mn-ea"/>
                <a:cs typeface="+mn-cs"/>
              </a:rPr>
              <a:t>Миграционный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пакет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по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фиксированной</a:t>
            </a:r>
            <a:r>
              <a:rPr lang="en-US" sz="18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800" b="0" i="0" dirty="0" err="1">
                <a:latin typeface="Arial"/>
                <a:ea typeface="+mn-ea"/>
                <a:cs typeface="+mn-cs"/>
              </a:rPr>
              <a:t>цене</a:t>
            </a:r>
            <a:endParaRPr lang="en-US" sz="1800" b="0" i="0" dirty="0"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ключает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с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необходимы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услуг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ереводу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базы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данных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SAP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СУБД IBM DB2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ил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его</a:t>
            </a:r>
            <a:r>
              <a:rPr lang="ru-RU" dirty="0">
                <a:latin typeface="Arial"/>
                <a:ea typeface="+mn-ea"/>
              </a:rPr>
              <a:t> 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внедрению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Цен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в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соответстви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региональной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ценовой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latin typeface="Arial"/>
                <a:ea typeface="+mn-ea"/>
                <a:cs typeface="+mn-cs"/>
              </a:rPr>
              <a:t>политик</a:t>
            </a:r>
            <a:r>
              <a:rPr lang="ru-RU" sz="1600" b="0" i="0" dirty="0" smtClean="0">
                <a:latin typeface="Arial"/>
                <a:ea typeface="+mn-ea"/>
                <a:cs typeface="+mn-cs"/>
              </a:rPr>
              <a:t>ой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ыгоды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Всего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latin typeface="Arial"/>
                <a:ea typeface="+mn-ea"/>
                <a:cs typeface="+mn-cs"/>
              </a:rPr>
              <a:t>20</a:t>
            </a:r>
            <a:r>
              <a:rPr lang="ru-RU" sz="1600" b="0" i="0" dirty="0" smtClean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latin typeface="Arial"/>
                <a:ea typeface="+mn-ea"/>
                <a:cs typeface="+mn-cs"/>
              </a:rPr>
              <a:t>%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работ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ереводу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роводятся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площадк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лиента</a:t>
            </a:r>
            <a:endParaRPr lang="en-US" sz="1600" b="0" i="0" dirty="0">
              <a:latin typeface="Arial"/>
              <a:ea typeface="+mn-ea"/>
              <a:cs typeface="+mn-cs"/>
            </a:endParaRPr>
          </a:p>
          <a:p>
            <a:pPr marL="640080" lvl="2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latin typeface="Arial"/>
                <a:ea typeface="+mn-ea"/>
                <a:cs typeface="+mn-cs"/>
              </a:rPr>
              <a:t>Сокращени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времени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оторое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должен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уделить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вопросу</a:t>
            </a:r>
            <a:r>
              <a:rPr lang="en-US" sz="1600" b="0" i="0" dirty="0"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latin typeface="Arial"/>
                <a:ea typeface="+mn-ea"/>
                <a:cs typeface="+mn-cs"/>
              </a:rPr>
              <a:t>клиент</a:t>
            </a:r>
            <a:endParaRPr lang="en-US" sz="1600" b="0" i="0" dirty="0">
              <a:latin typeface="Arial"/>
              <a:ea typeface="+mn-ea"/>
              <a:cs typeface="+mn-cs"/>
            </a:endParaRPr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41E72450-A6DC-4AAE-A71C-C3E85238E009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6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543634" cy="439832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107FD050-9F4B-4846-B731-1555D75AF2E6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7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9459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516338" cy="412536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6538" y="746125"/>
            <a:ext cx="8645525" cy="5307013"/>
          </a:xfrm>
        </p:spPr>
        <p:txBody>
          <a:bodyPr/>
          <a:lstStyle/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тзыв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лиентов</a:t>
            </a:r>
            <a:endParaRPr lang="en-US" sz="1500" b="0" i="0" dirty="0">
              <a:solidFill>
                <a:srgbClr val="000000"/>
              </a:solidFill>
              <a:latin typeface="Arial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1" i="0" dirty="0" err="1">
                <a:solidFill>
                  <a:srgbClr val="000000"/>
                </a:solidFill>
                <a:latin typeface="Arial"/>
              </a:rPr>
              <a:t>Компания</a:t>
            </a:r>
            <a:r>
              <a:rPr lang="en-US" sz="1500" b="1" i="0" dirty="0">
                <a:solidFill>
                  <a:srgbClr val="000000"/>
                </a:solidFill>
                <a:latin typeface="Arial"/>
              </a:rPr>
              <a:t> KONE, </a:t>
            </a:r>
            <a:r>
              <a:rPr lang="en-US" sz="1500" b="1" i="0" dirty="0" err="1">
                <a:solidFill>
                  <a:srgbClr val="000000"/>
                </a:solidFill>
                <a:latin typeface="Arial"/>
              </a:rPr>
              <a:t>Брайан</a:t>
            </a:r>
            <a:r>
              <a:rPr lang="en-US" sz="1500" b="1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1" i="0" dirty="0" err="1">
                <a:solidFill>
                  <a:srgbClr val="000000"/>
                </a:solidFill>
                <a:latin typeface="Arial"/>
              </a:rPr>
              <a:t>Виссер</a:t>
            </a:r>
            <a:r>
              <a:rPr lang="en-US" sz="1500" b="1" i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altLang="en-US" sz="1500" b="0" i="0" dirty="0">
                <a:solidFill>
                  <a:srgbClr val="000000"/>
                </a:solidFill>
                <a:latin typeface="Arial"/>
              </a:rPr>
              <a:t>«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еш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SAP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чрезвычайн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ажн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шег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изннес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а СУБД DB2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играе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ключевую</a:t>
            </a:r>
            <a:r>
              <a:rPr lang="ru-RU" sz="1500" dirty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роль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то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чт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льзовател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могу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лучить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оступ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к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еобходимы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анны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и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инструмента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огд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эт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еобходим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.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ыбор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льзу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DB2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инёс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ше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омпани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ущественны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ыгод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: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азмер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аз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анных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ократилс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40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оцентов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оизводительность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15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оцентов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евысил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запланированную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</a:rPr>
              <a:t>».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hlinkClick r:id="rId3"/>
              </a:rPr>
              <a:t>Узн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hlinkClick r:id="rId3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hlinkClick r:id="rId3"/>
              </a:rPr>
              <a:t>больше</a:t>
            </a:r>
            <a:endParaRPr lang="en-US" sz="1500" b="0" i="0" dirty="0">
              <a:solidFill>
                <a:srgbClr val="000000"/>
              </a:solidFill>
              <a:latin typeface="Arial"/>
              <a:hlinkClick r:id="rId3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1" i="0" dirty="0" err="1">
                <a:solidFill>
                  <a:srgbClr val="000000"/>
                </a:solidFill>
                <a:latin typeface="Arial"/>
              </a:rPr>
              <a:t>Borcelik</a:t>
            </a:r>
            <a:endParaRPr lang="en-US" sz="1500" b="1" i="0" dirty="0">
              <a:solidFill>
                <a:srgbClr val="000000"/>
              </a:solidFill>
              <a:latin typeface="Arial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altLang="en-US" sz="1500" b="0" i="0" dirty="0">
                <a:solidFill>
                  <a:srgbClr val="000000"/>
                </a:solidFill>
                <a:latin typeface="Arial"/>
              </a:rPr>
              <a:t>«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воё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рем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дно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из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иболе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широк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используемых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СУБД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ешени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SAP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ыл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Oracle,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эт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ыл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авильны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выбор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,–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бъясняе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зкан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ок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sz="1500" dirty="0" smtClean="0">
                <a:solidFill>
                  <a:srgbClr val="000000"/>
                </a:solidFill>
                <a:latin typeface="Arial"/>
              </a:rPr>
              <a:t>– 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С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тех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р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IBM и SAP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чал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тесн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отруднич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и IBM DB2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тал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едуще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СУБД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дл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ешени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SAP: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она</a:t>
            </a:r>
            <a:r>
              <a:rPr lang="ru-RU" sz="1500" dirty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обладает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бширным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функциональным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озможностям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легк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управляетс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</a:rPr>
              <a:t>а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эксплуатационные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затрат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её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иж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.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скор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сл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ереход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латформу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IBM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м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щутил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её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еимущества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». 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hlinkClick r:id="rId4"/>
              </a:rPr>
              <a:t>Узн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hlinkClick r:id="rId4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hlinkClick r:id="rId4"/>
              </a:rPr>
              <a:t>больше</a:t>
            </a:r>
            <a:endParaRPr lang="en-US" sz="1500" b="0" i="0" dirty="0">
              <a:solidFill>
                <a:srgbClr val="000000"/>
              </a:solidFill>
              <a:latin typeface="Arial"/>
              <a:hlinkClick r:id="rId4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1" i="0" dirty="0" err="1">
                <a:solidFill>
                  <a:srgbClr val="000000"/>
                </a:solidFill>
                <a:latin typeface="Arial"/>
              </a:rPr>
              <a:t>Agrofert</a:t>
            </a:r>
            <a:endParaRPr lang="en-US" sz="1500" b="1" i="0" dirty="0">
              <a:solidFill>
                <a:srgbClr val="000000"/>
              </a:solidFill>
              <a:latin typeface="Arial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«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ш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пы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казывае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чт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IBM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бладае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возможностям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технологиями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лагодар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оторы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ереход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с Oracle и Microsoft SQL Server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тановитс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безопасны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дёжным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процессом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,–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говори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Любош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Пайер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.</a:t>
            </a:r>
            <a:r>
              <a:rPr lang="ru-RU" sz="1500" dirty="0" smtClean="0">
                <a:solidFill>
                  <a:srgbClr val="000000"/>
                </a:solidFill>
                <a:latin typeface="Arial"/>
              </a:rPr>
              <a:t> –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</a:rPr>
              <a:t>Решения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IBM DB2 и SAP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мгновенно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риносят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финансовы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эксплуатационны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езультаты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.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их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основе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омпа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Agrofert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строил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масштабируемую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истему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способную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поддерж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новый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этап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роста</a:t>
            </a:r>
            <a:r>
              <a:rPr lang="en-US" sz="1500" b="0" i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</a:rPr>
              <a:t>компании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</a:rPr>
              <a:t>».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hlinkClick r:id="rId5"/>
              </a:rPr>
              <a:t>Узн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hlinkClick r:id="rId5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hlinkClick r:id="rId5"/>
              </a:rPr>
              <a:t>больше</a:t>
            </a:r>
            <a:endParaRPr lang="en-US" sz="1500" dirty="0" smtClean="0">
              <a:ea typeface="ＭＳ Ｐゴシック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61D4EAD4-1C1B-4937-9484-9BABBA471518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8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502690" cy="412536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жмит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сположенн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иж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сылк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чтоб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лучить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ополнительну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ормацию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Комплекс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реше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 SAP Business Suite (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современны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предприятие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3"/>
              </a:rPr>
              <a:t>»)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4"/>
              </a:rPr>
              <a:t>Бизнес-процесс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4"/>
              </a:rPr>
              <a:t> SAP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Выгод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реше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 SAP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дл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5"/>
              </a:rPr>
              <a:t>бизнеса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  <a:hlinkClick r:id="rId5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6"/>
              </a:rPr>
              <a:t>Отзыв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6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6"/>
              </a:rPr>
              <a:t>клиен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6"/>
              </a:rPr>
              <a:t> SAP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Брошюр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официальн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документ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7"/>
              </a:rPr>
              <a:t> SAP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8"/>
              </a:rPr>
              <a:t>Нов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8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8"/>
              </a:rPr>
              <a:t>мероприят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8"/>
              </a:rPr>
              <a:t> SAP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9"/>
              </a:rPr>
              <a:t>IBM DB2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Исследован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конкрет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ситуац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0"/>
              </a:rPr>
              <a:t>клиентов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  <a:hlinkClick r:id="rId10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  <a:hlinkClick r:id="rId11"/>
              </a:rPr>
              <a:t>SAP:</a:t>
            </a:r>
            <a:r>
              <a:rPr lang="ru-RU" dirty="0" smtClean="0">
                <a:solidFill>
                  <a:srgbClr val="000000"/>
                </a:solidFill>
                <a:latin typeface="Arial"/>
                <a:hlinkClick r:id="rId11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  <a:hlinkClick r:id="rId11"/>
              </a:rPr>
              <a:t>новый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  <a:hlinkClick r:id="rId11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1"/>
              </a:rPr>
              <a:t>мир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  <a:hlinkClick r:id="rId11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  <a:hlinkClick r:id="rId12"/>
              </a:rPr>
              <a:t>Siemen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  <a:hlinkClick r:id="rId12"/>
              </a:rPr>
              <a:t>: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  <a:hlinkClick r:id="rId12"/>
              </a:rPr>
              <a:t>видео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  <a:hlinkClick r:id="rId12"/>
            </a:endParaRPr>
          </a:p>
          <a:p>
            <a:pPr marL="539496" lvl="2" indent="-192024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endParaRPr lang="en-US" dirty="0" smtClean="0"/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44697D"/>
                </a:solidFill>
                <a:latin typeface="Arial"/>
                <a:ea typeface="+mn-ea"/>
                <a:cs typeface="+mn-cs"/>
              </a:rPr>
              <a:t>Контактная</a:t>
            </a:r>
            <a:r>
              <a:rPr lang="en-US" sz="1600" b="0" i="0" dirty="0">
                <a:solidFill>
                  <a:srgbClr val="44697D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44697D"/>
                </a:solidFill>
                <a:latin typeface="Arial"/>
                <a:ea typeface="+mn-ea"/>
                <a:cs typeface="+mn-cs"/>
              </a:rPr>
              <a:t>информация</a:t>
            </a:r>
            <a:r>
              <a:rPr lang="en-US" sz="1600" b="0" i="0" dirty="0">
                <a:solidFill>
                  <a:srgbClr val="44697D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44697D"/>
                </a:solidFill>
                <a:latin typeface="Arial"/>
                <a:ea typeface="+mn-ea"/>
                <a:cs typeface="+mn-cs"/>
              </a:rPr>
              <a:t>представительства</a:t>
            </a:r>
            <a:r>
              <a:rPr lang="en-US" sz="1600" b="0" i="0" dirty="0">
                <a:solidFill>
                  <a:srgbClr val="44697D"/>
                </a:solidFill>
                <a:latin typeface="Arial"/>
                <a:ea typeface="+mn-ea"/>
                <a:cs typeface="+mn-cs"/>
              </a:rPr>
              <a:t> SAP</a:t>
            </a:r>
          </a:p>
          <a:p>
            <a:pPr marL="704088" lvl="3" indent="-164592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endParaRPr lang="en-US" dirty="0" smtClean="0"/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ea typeface="ＭＳ Ｐゴシック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1D1E96E6-5C62-4CAA-841E-E6DFB6512411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19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1507" name="Rectangle 2"/>
          <p:cNvSpPr>
            <a:spLocks noChangeArrowheads="1"/>
          </p:cNvSpPr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rgbClr val="CCCCCC"/>
          </a:solidFill>
          <a:ln w="9525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buClr>
                <a:srgbClr val="44697D"/>
              </a:buClr>
              <a:buSzPct val="80000"/>
              <a:buFont typeface="Wingdings" pitchFamily="2" charset="2"/>
              <a:buNone/>
            </a:pPr>
            <a:endParaRPr lang="en-GB" sz="2000"/>
          </a:p>
        </p:txBody>
      </p:sp>
      <p:sp>
        <p:nvSpPr>
          <p:cNvPr id="21508" name="Rectangle 3"/>
          <p:cNvSpPr>
            <a:spLocks noChangeArrowheads="1"/>
          </p:cNvSpPr>
          <p:nvPr/>
        </p:nvSpPr>
        <p:spPr bwMode="gray">
          <a:xfrm>
            <a:off x="152400" y="2987675"/>
            <a:ext cx="8839200" cy="3713163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Clr>
                <a:srgbClr val="44697D"/>
              </a:buClr>
              <a:buSzPct val="80000"/>
              <a:buFont typeface="Wingdings" pitchFamily="2" charset="2"/>
              <a:buNone/>
            </a:pPr>
            <a:endParaRPr lang="en-GB" sz="2000"/>
          </a:p>
        </p:txBody>
      </p:sp>
      <p:sp>
        <p:nvSpPr>
          <p:cNvPr id="21509" name="Rectangle 4"/>
          <p:cNvSpPr>
            <a:spLocks noChangeArrowheads="1"/>
          </p:cNvSpPr>
          <p:nvPr/>
        </p:nvSpPr>
        <p:spPr bwMode="gray">
          <a:xfrm>
            <a:off x="152400" y="2035175"/>
            <a:ext cx="8839200" cy="8556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>
              <a:buNone/>
            </a:pPr>
            <a:r>
              <a:rPr lang="en-US" sz="3800" b="0" i="0">
                <a:solidFill>
                  <a:srgbClr val="44697D"/>
                </a:solidFill>
                <a:latin typeface="Arial Black"/>
                <a:ea typeface="ＭＳ Ｐゴシック"/>
                <a:cs typeface="+mn-cs"/>
              </a:rPr>
              <a:t>Спасибо за внимание!</a:t>
            </a:r>
          </a:p>
        </p:txBody>
      </p:sp>
      <p:sp>
        <p:nvSpPr>
          <p:cNvPr id="21510" name="Freeform 5"/>
          <p:cNvSpPr>
            <a:spLocks/>
          </p:cNvSpPr>
          <p:nvPr/>
        </p:nvSpPr>
        <p:spPr bwMode="gray">
          <a:xfrm>
            <a:off x="8545513" y="6259513"/>
            <a:ext cx="457200" cy="457200"/>
          </a:xfrm>
          <a:custGeom>
            <a:avLst/>
            <a:gdLst>
              <a:gd name="T0" fmla="*/ 2147483647 w 288"/>
              <a:gd name="T1" fmla="*/ 0 h 288"/>
              <a:gd name="T2" fmla="*/ 0 w 288"/>
              <a:gd name="T3" fmla="*/ 2147483647 h 288"/>
              <a:gd name="T4" fmla="*/ 2147483647 w 288"/>
              <a:gd name="T5" fmla="*/ 2147483647 h 288"/>
              <a:gd name="T6" fmla="*/ 2147483647 w 288"/>
              <a:gd name="T7" fmla="*/ 0 h 288"/>
              <a:gd name="T8" fmla="*/ 0 60000 65536"/>
              <a:gd name="T9" fmla="*/ 0 60000 65536"/>
              <a:gd name="T10" fmla="*/ 0 60000 65536"/>
              <a:gd name="T11" fmla="*/ 0 60000 65536"/>
              <a:gd name="T12" fmla="*/ 0 w 288"/>
              <a:gd name="T13" fmla="*/ 0 h 288"/>
              <a:gd name="T14" fmla="*/ 288 w 288"/>
              <a:gd name="T15" fmla="*/ 288 h 2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8" h="288">
                <a:moveTo>
                  <a:pt x="288" y="0"/>
                </a:moveTo>
                <a:lnTo>
                  <a:pt x="0" y="288"/>
                </a:lnTo>
                <a:lnTo>
                  <a:pt x="288" y="288"/>
                </a:lnTo>
                <a:lnTo>
                  <a:pt x="288" y="0"/>
                </a:lnTo>
                <a:close/>
              </a:path>
            </a:pathLst>
          </a:custGeom>
          <a:solidFill>
            <a:srgbClr val="CCCCCC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21511" name="Picture 21" descr="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8475" y="6272213"/>
            <a:ext cx="8715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96ECD488-AD36-4EF0-87A6-80B2BDF66E6C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2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5123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222250" y="1365250"/>
            <a:ext cx="8645525" cy="3983038"/>
          </a:xfrm>
        </p:spPr>
        <p:txBody>
          <a:bodyPr/>
          <a:lstStyle/>
          <a:p>
            <a:pPr marL="457200" indent="-457200" algn="l">
              <a:spcBef>
                <a:spcPts val="48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/>
              <a:buAutoNum type="arabicPeriod"/>
            </a:pP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Проблемы</a:t>
            </a:r>
            <a:r>
              <a:rPr lang="en-US" sz="2000" b="0" i="0" dirty="0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решения</a:t>
            </a:r>
            <a:endParaRPr lang="en-US" sz="2000" b="0" i="0" dirty="0">
              <a:solidFill>
                <a:srgbClr val="44697D"/>
              </a:solidFill>
              <a:latin typeface="Arial"/>
              <a:ea typeface="ＭＳ Ｐゴシック"/>
              <a:cs typeface="+mn-cs"/>
            </a:endParaRPr>
          </a:p>
          <a:p>
            <a:pPr marL="457200" indent="-457200" algn="l">
              <a:spcBef>
                <a:spcPts val="48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/>
              <a:buAutoNum type="arabicPeriod"/>
            </a:pP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Выгоды</a:t>
            </a:r>
            <a:endParaRPr lang="en-US" sz="2000" b="0" i="0" dirty="0">
              <a:solidFill>
                <a:srgbClr val="44697D"/>
              </a:solidFill>
              <a:latin typeface="Arial"/>
              <a:ea typeface="ＭＳ Ｐゴシック"/>
              <a:cs typeface="+mn-cs"/>
            </a:endParaRPr>
          </a:p>
          <a:p>
            <a:pPr marL="457200" indent="-457200" algn="l">
              <a:spcBef>
                <a:spcPts val="48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/>
              <a:buAutoNum type="arabicPeriod"/>
            </a:pP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Ценность</a:t>
            </a:r>
            <a:r>
              <a:rPr lang="en-US" sz="2000" b="0" i="0" dirty="0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для</a:t>
            </a:r>
            <a:r>
              <a:rPr lang="en-US" sz="2000" b="0" i="0" dirty="0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 ИТ- и </a:t>
            </a:r>
            <a:r>
              <a:rPr lang="en-US" sz="2000" b="0" i="0" dirty="0" err="1">
                <a:solidFill>
                  <a:srgbClr val="44697D"/>
                </a:solidFill>
                <a:latin typeface="Arial"/>
                <a:ea typeface="ＭＳ Ｐゴシック"/>
                <a:cs typeface="+mn-cs"/>
              </a:rPr>
              <a:t>бизнес-подразделений</a:t>
            </a:r>
            <a:endParaRPr lang="en-US" sz="2000" b="0" i="0" dirty="0">
              <a:solidFill>
                <a:srgbClr val="44697D"/>
              </a:solidFill>
              <a:latin typeface="Arial"/>
              <a:ea typeface="ＭＳ Ｐゴシック"/>
              <a:cs typeface="+mn-cs"/>
            </a:endParaRPr>
          </a:p>
          <a:p>
            <a:pPr marL="457200" indent="-457200" algn="l">
              <a:spcBef>
                <a:spcPts val="48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/>
              <a:buAutoNum type="arabicPeriod"/>
            </a:pPr>
            <a:r>
              <a:rPr lang="ru-RU" sz="2000" dirty="0" smtClean="0">
                <a:solidFill>
                  <a:srgbClr val="44697D"/>
                </a:solidFill>
                <a:latin typeface="Arial"/>
                <a:ea typeface="ＭＳ Ｐゴシック"/>
              </a:rPr>
              <a:t>Предложения</a:t>
            </a:r>
            <a:endParaRPr lang="en-US" sz="2000" b="0" i="0" dirty="0">
              <a:solidFill>
                <a:srgbClr val="44697D"/>
              </a:solidFill>
              <a:latin typeface="Arial"/>
              <a:ea typeface="ＭＳ Ｐゴシック"/>
              <a:cs typeface="+mn-cs"/>
            </a:endParaRPr>
          </a:p>
          <a:p>
            <a:pPr marL="457200" indent="-457200" algn="l">
              <a:spcBef>
                <a:spcPts val="48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/>
              <a:buAutoNum type="arabicPeriod"/>
            </a:pPr>
            <a:endParaRPr lang="en-US" sz="2000" dirty="0" smtClean="0">
              <a:solidFill>
                <a:schemeClr val="tx2"/>
              </a:solidFill>
              <a:ea typeface="ＭＳ Ｐゴシック"/>
            </a:endParaRPr>
          </a:p>
        </p:txBody>
      </p:sp>
      <p:sp>
        <p:nvSpPr>
          <p:cNvPr id="5124" name="Rectangle 7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4170362" cy="715962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0" i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Основные положения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5FA6A5DF-A256-45B9-98D0-ADF7C3E90DD4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20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SAP AG, </a:t>
            </a:r>
            <a:r>
              <a:rPr lang="en-US" sz="2200" b="0" i="0" dirty="0" smtClean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2007</a:t>
            </a:r>
            <a:r>
              <a:rPr lang="ru-RU" sz="2200" b="0" i="0" dirty="0" smtClean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г</a:t>
            </a:r>
            <a:r>
              <a:rPr lang="en-US" sz="2200" b="0" i="0" dirty="0" smtClean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. </a:t>
            </a:r>
            <a:r>
              <a:rPr lang="ru-RU" dirty="0" smtClean="0">
                <a:solidFill>
                  <a:srgbClr val="44697D"/>
                </a:solidFill>
                <a:latin typeface="Arial Black"/>
                <a:ea typeface="ＭＳ Ｐゴシック"/>
              </a:rPr>
              <a:t>Все </a:t>
            </a:r>
            <a:r>
              <a:rPr lang="ru-RU" dirty="0" smtClean="0">
                <a:solidFill>
                  <a:srgbClr val="44697D"/>
                </a:solidFill>
                <a:latin typeface="Arial Black"/>
                <a:ea typeface="ＭＳ Ｐゴシック"/>
              </a:rPr>
              <a:t>права защищены.</a:t>
            </a:r>
            <a:endParaRPr lang="en-US" sz="2200" b="0" i="0" dirty="0">
              <a:solidFill>
                <a:srgbClr val="44697D"/>
              </a:solidFill>
              <a:latin typeface="Arial Black"/>
              <a:ea typeface="ＭＳ Ｐゴシック"/>
              <a:cs typeface="+mj-cs"/>
            </a:endParaRPr>
          </a:p>
        </p:txBody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7175" y="1362075"/>
            <a:ext cx="8743950" cy="5116513"/>
          </a:xfrm>
        </p:spPr>
        <p:txBody>
          <a:bodyPr/>
          <a:lstStyle/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Люба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часть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анно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убликаци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оже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ыть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воспроизведена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ередана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ой-либ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форм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с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ой-либ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целью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ольк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осл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олучен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азрешен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AG.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держащая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анно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кумент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нформац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оже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ыть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зменена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ез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дварительног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ведомлен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Some software products marketed by SAP AG and its distributors contain proprietary software components of other software vendors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Microsoft, Windows, Excel, Outlook, and PowerPoint are registered trademarks of Microsoft Corporation. 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IBM, DB2, DB2 Universal Database, System i, System i5, System p, System p5, System x, System z, System z10, System z9, z10, z9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iSerie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pSerie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xSerie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zSerie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eServer, z/VM, z/OS, i5/OS, S/390, OS/390, OS/400, AS/400, S/390 Parallel Enterprise Server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PowerVM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Power Architecture, POWER6+, POWER6, POWER5+, POWER5, POWER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OpenPower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PowerPC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atchPipe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ladeCenter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System Storage, GPFS, HACMP, RETAIN, DB2 Connect, RACF, Redbooks, OS/2, Parallel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Sysplex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MVS/ESA, AIX, Intelligent Miner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WebSphere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Netfinity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Tivoli and Informix are trademarks or registered trademarks of IBM Corporation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Linux is the registered trademark of Linus Torvalds in the U.S. and other countries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Adobe, the Adobe logo, Acrobat, PostScript, and Reader are either trademarks or registered trademarks of Adobe Systems Incorporated in the United States and/or other countries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«Oracle»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ляе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зарегистрированно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оргово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рко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рпораци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«Oracle». 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UNIX, X/Open, OSF/1, and Motif are registered trademarks of the Open Group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Citrix, ICA, Program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Neighborhood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MetaFrame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WinFrame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VideoFrame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and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MultiWin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are trademarks or registered trademarks of Citrix Systems, Inc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HTML, XML, XHTML and W3C are trademarks or registered trademarks of W3C®, World Wide Web Consortium, Massachusetts Institute of Technology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Java is a registered trademark of Sun Microsystems, Inc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JavaScript is a registered trademark of Sun Microsystems, Inc., used under license for technology invented and implemented by Netscape. 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usiness Objects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логотип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Business Objects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usinessObject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Crystal Reports, Crystal Decisions, Web Intelligence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Xcelsius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руги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укт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слуг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Business Objects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помянуты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астояще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кумент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а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акж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логотип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ляю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оргов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рка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зарегистрированн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оргов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рка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Business Objects S.A.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единенны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Штата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яд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руг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тран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Business Objects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ляе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дно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з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ании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азван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руг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уктов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слуг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встречающих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то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кумент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ляю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оварн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знака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ответствующ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ани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анны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держащие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в</a:t>
            </a:r>
            <a:r>
              <a:rPr lang="ru-RU" sz="9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 </a:t>
            </a:r>
            <a:r>
              <a:rPr lang="en-GB" sz="900" b="0" i="0" dirty="0" err="1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том</a:t>
            </a:r>
            <a:r>
              <a:rPr lang="en-GB" sz="9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кумент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лужа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сключительн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нформационны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целя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ациональны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пецификаци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уктов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огу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тличать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</a:t>
            </a:r>
          </a:p>
          <a:p>
            <a:pPr marL="0" indent="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т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териал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огу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ыть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зменен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ез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ведомлени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н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доставлен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ание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AG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аффилированн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с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е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ания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(SAP Group)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сключительн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нформационны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целя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ез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заявлени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их-либо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арантий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и SAP Group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есет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тветственност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за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шибк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пуск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т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териала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Единственны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арантиям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а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укты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слуг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Group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ляю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аранти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зложенные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явны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бразом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арантийны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кумента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(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ес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ни</a:t>
            </a:r>
            <a:r>
              <a:rPr lang="ru-RU" sz="900" dirty="0">
                <a:solidFill>
                  <a:srgbClr val="000000"/>
                </a:solidFill>
                <a:latin typeface="Arial"/>
                <a:ea typeface="ＭＳ Ｐゴシック"/>
              </a:rPr>
              <a:t> </a:t>
            </a:r>
            <a:r>
              <a:rPr lang="en-GB" sz="900" b="0" i="0" dirty="0" err="1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меются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),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провождающих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такую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укцию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л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GB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слуги</a:t>
            </a:r>
            <a:r>
              <a:rPr lang="en-GB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 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астоящая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нформация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е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ожет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ассматриваться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снование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ля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дополнительной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de-DE" sz="9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арантии</a:t>
            </a:r>
            <a:r>
              <a:rPr lang="de-DE" sz="9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.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2011769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A5A37B30-9BED-42FA-A5FD-59894D018AA3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21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3555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2"/>
            <a:ext cx="7697787" cy="420687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66688" y="777875"/>
            <a:ext cx="8645525" cy="1755775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Большо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зображени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: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лекс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«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временным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дприятием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» с IBM DB2</a:t>
            </a:r>
          </a:p>
          <a:p>
            <a:pPr marL="0" indent="0" algn="l">
              <a:spcBef>
                <a:spcPts val="144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кращает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общую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тоимость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владения</a:t>
            </a:r>
            <a:endParaRPr lang="en-US" sz="1400" b="0" i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  <a:p>
            <a:pPr marL="0" indent="0" algn="l">
              <a:spcBef>
                <a:spcPts val="144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лучшенно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иложениями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и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нижение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исков</a:t>
            </a:r>
            <a:endParaRPr lang="en-US" sz="1400" b="0" i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  <a:p>
            <a:pPr marL="0" indent="0" algn="l">
              <a:spcBef>
                <a:spcPts val="144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ффективность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асштабируемость</a:t>
            </a:r>
            <a:endParaRPr lang="en-US" sz="1400" b="0" i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06438" y="2570163"/>
            <a:ext cx="7391400" cy="410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906700"/>
            </a:outerShdw>
          </a:effectLst>
        </p:spPr>
      </p:pic>
      <p:sp>
        <p:nvSpPr>
          <p:cNvPr id="23558" name="TextBox 5"/>
          <p:cNvSpPr txBox="1">
            <a:spLocks noChangeArrowheads="1"/>
          </p:cNvSpPr>
          <p:nvPr/>
        </p:nvSpPr>
        <p:spPr bwMode="auto">
          <a:xfrm>
            <a:off x="898843" y="2606434"/>
            <a:ext cx="15621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Единообразны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пользовательский</a:t>
            </a:r>
            <a:r>
              <a:rPr lang="ru-RU" sz="800" b="1" i="0" dirty="0" smtClean="0">
                <a:latin typeface="Arial"/>
                <a:ea typeface="ＭＳ Ｐゴシック"/>
                <a:cs typeface="+mn-cs"/>
              </a:rPr>
              <a:t> интерфейс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приложен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1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процессов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59" name="TextBox 6"/>
          <p:cNvSpPr txBox="1">
            <a:spLocks noChangeArrowheads="1"/>
          </p:cNvSpPr>
          <p:nvPr/>
        </p:nvSpPr>
        <p:spPr bwMode="auto">
          <a:xfrm>
            <a:off x="4419600" y="2668360"/>
            <a:ext cx="1371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Встроенная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аналитика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0" name="TextBox 7"/>
          <p:cNvSpPr txBox="1">
            <a:spLocks noChangeArrowheads="1"/>
          </p:cNvSpPr>
          <p:nvPr/>
        </p:nvSpPr>
        <p:spPr bwMode="auto">
          <a:xfrm>
            <a:off x="6651625" y="3178175"/>
            <a:ext cx="1371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Организация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СОА</a:t>
            </a:r>
          </a:p>
        </p:txBody>
      </p:sp>
      <p:sp>
        <p:nvSpPr>
          <p:cNvPr id="23561" name="TextBox 8"/>
          <p:cNvSpPr txBox="1">
            <a:spLocks noChangeArrowheads="1"/>
          </p:cNvSpPr>
          <p:nvPr/>
        </p:nvSpPr>
        <p:spPr bwMode="auto">
          <a:xfrm>
            <a:off x="6625431" y="4322038"/>
            <a:ext cx="13716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Пакеты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расширен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: </a:t>
            </a:r>
            <a:r>
              <a:rPr lang="ru-RU" sz="800" b="1" i="0" dirty="0" err="1" smtClean="0">
                <a:latin typeface="Arial"/>
                <a:ea typeface="ＭＳ Ｐゴシック"/>
                <a:cs typeface="+mn-cs"/>
              </a:rPr>
              <a:t>п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лавное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внедрени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инновац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комплекса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SAP Business Suite</a:t>
            </a:r>
          </a:p>
        </p:txBody>
      </p:sp>
      <p:sp>
        <p:nvSpPr>
          <p:cNvPr id="23562" name="TextBox 9"/>
          <p:cNvSpPr txBox="1">
            <a:spLocks noChangeArrowheads="1"/>
          </p:cNvSpPr>
          <p:nvPr/>
        </p:nvSpPr>
        <p:spPr bwMode="auto">
          <a:xfrm>
            <a:off x="6430963" y="5913438"/>
            <a:ext cx="1371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Снижени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рисков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1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рост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ценности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3" name="TextBox 10"/>
          <p:cNvSpPr txBox="1">
            <a:spLocks noChangeArrowheads="1"/>
          </p:cNvSpPr>
          <p:nvPr/>
        </p:nvSpPr>
        <p:spPr bwMode="auto">
          <a:xfrm>
            <a:off x="2977072" y="5918993"/>
            <a:ext cx="17986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Лучши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отраслевы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практики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4" name="TextBox 11"/>
          <p:cNvSpPr txBox="1">
            <a:spLocks noChangeArrowheads="1"/>
          </p:cNvSpPr>
          <p:nvPr/>
        </p:nvSpPr>
        <p:spPr bwMode="auto">
          <a:xfrm>
            <a:off x="746918" y="4451936"/>
            <a:ext cx="14319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Расширенны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комплексные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процессы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5" name="TextBox 12"/>
          <p:cNvSpPr txBox="1">
            <a:spLocks noChangeArrowheads="1"/>
          </p:cNvSpPr>
          <p:nvPr/>
        </p:nvSpPr>
        <p:spPr bwMode="auto">
          <a:xfrm>
            <a:off x="593725" y="5813425"/>
            <a:ext cx="19510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Непрерывны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проц</a:t>
            </a:r>
            <a:r>
              <a:rPr lang="ru-RU" sz="800" b="1" i="0" dirty="0" smtClean="0">
                <a:latin typeface="Arial"/>
                <a:ea typeface="ＭＳ Ｐゴシック"/>
                <a:cs typeface="+mn-cs"/>
              </a:rPr>
              <a:t>е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сс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инновац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всех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направлений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1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во</a:t>
            </a:r>
            <a:r>
              <a:rPr lang="ru-RU" sz="800" b="1" dirty="0">
                <a:latin typeface="Arial"/>
                <a:ea typeface="ＭＳ Ｐゴシック"/>
              </a:rPr>
              <a:t> </a:t>
            </a:r>
            <a:r>
              <a:rPr lang="en-US" sz="800" b="1" i="0" dirty="0" err="1" smtClean="0">
                <a:latin typeface="Arial"/>
                <a:ea typeface="ＭＳ Ｐゴシック"/>
                <a:cs typeface="+mn-cs"/>
              </a:rPr>
              <a:t>всех</a:t>
            </a:r>
            <a:r>
              <a:rPr lang="en-US" sz="800" b="1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latin typeface="Arial"/>
                <a:ea typeface="ＭＳ Ｐゴシック"/>
                <a:cs typeface="+mn-cs"/>
              </a:rPr>
              <a:t>отраслях</a:t>
            </a:r>
            <a:endParaRPr lang="en-US" sz="800" b="1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6" name="TextBox 13"/>
          <p:cNvSpPr txBox="1">
            <a:spLocks noChangeArrowheads="1"/>
          </p:cNvSpPr>
          <p:nvPr/>
        </p:nvSpPr>
        <p:spPr bwMode="auto">
          <a:xfrm>
            <a:off x="1058863" y="3184525"/>
            <a:ext cx="119697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овышени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родуктивн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работы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конечных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ользователей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7" name="TextBox 14"/>
          <p:cNvSpPr txBox="1">
            <a:spLocks noChangeArrowheads="1"/>
          </p:cNvSpPr>
          <p:nvPr/>
        </p:nvSpPr>
        <p:spPr bwMode="auto">
          <a:xfrm>
            <a:off x="4419600" y="2925763"/>
            <a:ext cx="152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10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10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0" i="1" dirty="0" err="1">
                <a:latin typeface="Arial"/>
                <a:ea typeface="ＭＳ Ｐゴシック"/>
                <a:cs typeface="+mn-cs"/>
              </a:rPr>
              <a:t>контроля</a:t>
            </a:r>
            <a:r>
              <a:rPr lang="en-US" sz="10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0" i="1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1000" b="0" i="1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1000" b="0" i="1" dirty="0" err="1" smtClean="0">
                <a:latin typeface="Arial"/>
                <a:ea typeface="ＭＳ Ｐゴシック"/>
                <a:cs typeface="+mn-cs"/>
              </a:rPr>
              <a:t>анализа</a:t>
            </a:r>
            <a:r>
              <a:rPr lang="en-US" sz="1000" b="0" i="1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0" i="1" dirty="0" err="1">
                <a:latin typeface="Arial"/>
                <a:ea typeface="ＭＳ Ｐゴシック"/>
                <a:cs typeface="+mn-cs"/>
              </a:rPr>
              <a:t>бизнеса</a:t>
            </a:r>
            <a:endParaRPr lang="en-US" sz="10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8" name="TextBox 15"/>
          <p:cNvSpPr txBox="1">
            <a:spLocks noChangeArrowheads="1"/>
          </p:cNvSpPr>
          <p:nvPr/>
        </p:nvSpPr>
        <p:spPr bwMode="auto">
          <a:xfrm>
            <a:off x="6430963" y="3556000"/>
            <a:ext cx="152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гибк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бизнес-процессов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smtClean="0">
                <a:latin typeface="Arial"/>
                <a:ea typeface="ＭＳ Ｐゴシック"/>
                <a:cs typeface="+mn-cs"/>
              </a:rPr>
              <a:t>в</a:t>
            </a:r>
            <a:r>
              <a:rPr lang="ru-RU" sz="800" b="0" i="1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1" dirty="0" err="1" smtClean="0">
                <a:latin typeface="Arial"/>
                <a:ea typeface="ＭＳ Ｐゴシック"/>
                <a:cs typeface="+mn-cs"/>
              </a:rPr>
              <a:t>целом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69" name="TextBox 16"/>
          <p:cNvSpPr txBox="1">
            <a:spLocks noChangeArrowheads="1"/>
          </p:cNvSpPr>
          <p:nvPr/>
        </p:nvSpPr>
        <p:spPr bwMode="auto">
          <a:xfrm>
            <a:off x="6675438" y="5203825"/>
            <a:ext cx="127158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ускорени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инноваций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снижени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общей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стоим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владения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70" name="TextBox 17"/>
          <p:cNvSpPr txBox="1">
            <a:spLocks noChangeArrowheads="1"/>
          </p:cNvSpPr>
          <p:nvPr/>
        </p:nvSpPr>
        <p:spPr bwMode="auto">
          <a:xfrm>
            <a:off x="6134100" y="6331826"/>
            <a:ext cx="18891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снижени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олной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стоим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владени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большего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контроля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71" name="TextBox 18"/>
          <p:cNvSpPr txBox="1">
            <a:spLocks noChangeArrowheads="1"/>
          </p:cNvSpPr>
          <p:nvPr/>
        </p:nvSpPr>
        <p:spPr bwMode="auto">
          <a:xfrm>
            <a:off x="3024413" y="6303963"/>
            <a:ext cx="19510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роста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роизводительн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основных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бизнес-процессов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72" name="TextBox 19"/>
          <p:cNvSpPr txBox="1">
            <a:spLocks noChangeArrowheads="1"/>
          </p:cNvSpPr>
          <p:nvPr/>
        </p:nvSpPr>
        <p:spPr bwMode="auto">
          <a:xfrm>
            <a:off x="705616" y="6423571"/>
            <a:ext cx="19494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роста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роизводительности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73" name="TextBox 20"/>
          <p:cNvSpPr txBox="1">
            <a:spLocks noChangeArrowheads="1"/>
          </p:cNvSpPr>
          <p:nvPr/>
        </p:nvSpPr>
        <p:spPr bwMode="auto">
          <a:xfrm>
            <a:off x="808038" y="4954588"/>
            <a:ext cx="13096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целостн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процессов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1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1" dirty="0" err="1" smtClean="0">
                <a:latin typeface="Arial"/>
                <a:ea typeface="ＭＳ Ｐゴシック"/>
                <a:cs typeface="+mn-cs"/>
              </a:rPr>
              <a:t>повышения</a:t>
            </a:r>
            <a:r>
              <a:rPr lang="en-US" sz="800" b="0" i="1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эффективности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 ИТ </a:t>
            </a:r>
            <a:r>
              <a:rPr lang="en-US" sz="800" b="0" i="1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1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1" dirty="0" err="1" smtClean="0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1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1" dirty="0">
                <a:latin typeface="Arial"/>
                <a:ea typeface="ＭＳ Ｐゴシック"/>
                <a:cs typeface="+mn-cs"/>
              </a:rPr>
              <a:t>в </a:t>
            </a:r>
            <a:r>
              <a:rPr lang="en-US" sz="800" b="0" i="1" dirty="0" err="1">
                <a:latin typeface="Arial"/>
                <a:ea typeface="ＭＳ Ｐゴシック"/>
                <a:cs typeface="+mn-cs"/>
              </a:rPr>
              <a:t>целом</a:t>
            </a:r>
            <a:endParaRPr lang="en-US" sz="800" b="0" i="1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3574" name="TextBox 21"/>
          <p:cNvSpPr txBox="1">
            <a:spLocks noChangeArrowheads="1"/>
          </p:cNvSpPr>
          <p:nvPr/>
        </p:nvSpPr>
        <p:spPr bwMode="auto">
          <a:xfrm>
            <a:off x="2460943" y="3278188"/>
            <a:ext cx="35436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800" b="1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Комплекс</a:t>
            </a:r>
            <a:r>
              <a:rPr lang="en-US" sz="800" b="1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800" b="1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SAP Business Suite («</a:t>
            </a:r>
            <a:r>
              <a:rPr lang="en-US" sz="800" b="1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800" b="1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современным</a:t>
            </a:r>
            <a:r>
              <a:rPr lang="en-US" sz="800" b="1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800" b="1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предприятием</a:t>
            </a:r>
            <a:r>
              <a:rPr lang="en-US" sz="800" b="1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»)</a:t>
            </a:r>
          </a:p>
        </p:txBody>
      </p:sp>
      <p:sp>
        <p:nvSpPr>
          <p:cNvPr id="23575" name="TextBox 22"/>
          <p:cNvSpPr txBox="1">
            <a:spLocks noChangeArrowheads="1"/>
          </p:cNvSpPr>
          <p:nvPr/>
        </p:nvSpPr>
        <p:spPr bwMode="auto">
          <a:xfrm>
            <a:off x="2370138" y="3576638"/>
            <a:ext cx="10940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sz="600" b="0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Комплексная</a:t>
            </a:r>
            <a:r>
              <a:rPr lang="en-US" sz="600" b="0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600" b="0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платформа</a:t>
            </a:r>
            <a:r>
              <a:rPr lang="en-US" sz="600" b="0" i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 SAP </a:t>
            </a:r>
            <a:r>
              <a:rPr lang="en-US" sz="600" b="0" i="0" dirty="0" err="1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NetWeaver</a:t>
            </a:r>
            <a:endParaRPr lang="en-US" sz="600" b="0" i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3576" name="TextBox 23"/>
          <p:cNvSpPr txBox="1">
            <a:spLocks noChangeArrowheads="1"/>
          </p:cNvSpPr>
          <p:nvPr/>
        </p:nvSpPr>
        <p:spPr bwMode="auto">
          <a:xfrm>
            <a:off x="2332038" y="5291138"/>
            <a:ext cx="12652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1200" b="1" i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DB2</a:t>
            </a:r>
          </a:p>
        </p:txBody>
      </p:sp>
      <p:sp>
        <p:nvSpPr>
          <p:cNvPr id="23577" name="TextBox 24"/>
          <p:cNvSpPr txBox="1">
            <a:spLocks noChangeArrowheads="1"/>
          </p:cNvSpPr>
          <p:nvPr/>
        </p:nvSpPr>
        <p:spPr bwMode="auto">
          <a:xfrm rot="-5400000">
            <a:off x="2248694" y="4605630"/>
            <a:ext cx="80803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500" b="1" i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SAP PUM</a:t>
            </a:r>
          </a:p>
        </p:txBody>
      </p:sp>
      <p:sp>
        <p:nvSpPr>
          <p:cNvPr id="23578" name="TextBox 25"/>
          <p:cNvSpPr txBox="1">
            <a:spLocks noChangeArrowheads="1"/>
          </p:cNvSpPr>
          <p:nvPr/>
        </p:nvSpPr>
        <p:spPr bwMode="auto">
          <a:xfrm rot="-5400000">
            <a:off x="2708356" y="4539587"/>
            <a:ext cx="80803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ш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SAP «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взаимоотношениями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smtClean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с</a:t>
            </a:r>
            <a:r>
              <a:rPr lang="ru-RU" sz="400" b="1" i="0" dirty="0" smtClean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 </a:t>
            </a:r>
            <a:r>
              <a:rPr lang="en-US" sz="400" b="1" i="0" dirty="0" err="1" smtClean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поставщиками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» (SAP SRM)</a:t>
            </a:r>
          </a:p>
        </p:txBody>
      </p:sp>
      <p:sp>
        <p:nvSpPr>
          <p:cNvPr id="23579" name="TextBox 26"/>
          <p:cNvSpPr txBox="1">
            <a:spLocks noChangeArrowheads="1"/>
          </p:cNvSpPr>
          <p:nvPr/>
        </p:nvSpPr>
        <p:spPr bwMode="auto">
          <a:xfrm rot="-5400000">
            <a:off x="3187814" y="4596151"/>
            <a:ext cx="68854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ш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SAP «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логистической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цепочкой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» (SAP SCM)</a:t>
            </a:r>
          </a:p>
        </p:txBody>
      </p:sp>
      <p:sp>
        <p:nvSpPr>
          <p:cNvPr id="23580" name="TextBox 27"/>
          <p:cNvSpPr txBox="1">
            <a:spLocks noChangeArrowheads="1"/>
          </p:cNvSpPr>
          <p:nvPr/>
        </p:nvSpPr>
        <p:spPr bwMode="auto">
          <a:xfrm rot="-5400000">
            <a:off x="3625544" y="4594167"/>
            <a:ext cx="6845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ш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SAP «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взаимоотношениями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с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клиентами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» (SAP CRM)</a:t>
            </a:r>
          </a:p>
        </p:txBody>
      </p:sp>
      <p:sp>
        <p:nvSpPr>
          <p:cNvPr id="23581" name="TextBox 28"/>
          <p:cNvSpPr txBox="1">
            <a:spLocks noChangeArrowheads="1"/>
          </p:cNvSpPr>
          <p:nvPr/>
        </p:nvSpPr>
        <p:spPr bwMode="auto">
          <a:xfrm rot="-5400000">
            <a:off x="4140358" y="4677856"/>
            <a:ext cx="53562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ш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SAP «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сурсами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4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предприятия</a:t>
            </a:r>
            <a:r>
              <a:rPr lang="en-US" sz="4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» (SAP ERP)</a:t>
            </a:r>
          </a:p>
        </p:txBody>
      </p:sp>
      <p:sp>
        <p:nvSpPr>
          <p:cNvPr id="23582" name="TextBox 29"/>
          <p:cNvSpPr txBox="1">
            <a:spLocks noChangeArrowheads="1"/>
          </p:cNvSpPr>
          <p:nvPr/>
        </p:nvSpPr>
        <p:spPr bwMode="auto">
          <a:xfrm rot="-5400000">
            <a:off x="4449763" y="4603353"/>
            <a:ext cx="8080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5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Отраслевые</a:t>
            </a:r>
            <a:r>
              <a:rPr lang="en-US" sz="5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5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ешения</a:t>
            </a:r>
            <a:endParaRPr lang="en-US" sz="500" b="1" i="0" dirty="0">
              <a:solidFill>
                <a:srgbClr val="00B0F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3583" name="TextBox 30"/>
          <p:cNvSpPr txBox="1">
            <a:spLocks noChangeArrowheads="1"/>
          </p:cNvSpPr>
          <p:nvPr/>
        </p:nvSpPr>
        <p:spPr bwMode="auto">
          <a:xfrm rot="-5400000">
            <a:off x="4865053" y="4575175"/>
            <a:ext cx="80803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Дополнительные</a:t>
            </a:r>
            <a:r>
              <a:rPr lang="en-US" sz="6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приложения</a:t>
            </a:r>
            <a:endParaRPr lang="en-US" sz="600" b="1" i="0" dirty="0">
              <a:solidFill>
                <a:srgbClr val="00B0F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3584" name="TextBox 31"/>
          <p:cNvSpPr txBox="1">
            <a:spLocks noChangeArrowheads="1"/>
          </p:cNvSpPr>
          <p:nvPr/>
        </p:nvSpPr>
        <p:spPr bwMode="auto">
          <a:xfrm rot="-5400000">
            <a:off x="5360353" y="4951412"/>
            <a:ext cx="80803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Пакеты</a:t>
            </a:r>
            <a:r>
              <a:rPr lang="en-US" sz="6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асширений</a:t>
            </a:r>
            <a:endParaRPr lang="en-US" sz="600" b="1" i="0" dirty="0">
              <a:solidFill>
                <a:srgbClr val="00B0F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3585" name="TextBox 32"/>
          <p:cNvSpPr txBox="1">
            <a:spLocks noChangeArrowheads="1"/>
          </p:cNvSpPr>
          <p:nvPr/>
        </p:nvSpPr>
        <p:spPr bwMode="auto">
          <a:xfrm rot="-5400000">
            <a:off x="5639435" y="4951413"/>
            <a:ext cx="80803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None/>
            </a:pP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Пакеты</a:t>
            </a:r>
            <a:r>
              <a:rPr lang="en-US" sz="600" b="1" i="0" dirty="0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600" b="1" i="0" dirty="0" err="1">
                <a:solidFill>
                  <a:srgbClr val="00B0F0"/>
                </a:solidFill>
                <a:latin typeface="Arial"/>
                <a:ea typeface="ＭＳ Ｐゴシック"/>
                <a:cs typeface="+mn-cs"/>
              </a:rPr>
              <a:t>расширений</a:t>
            </a:r>
            <a:endParaRPr lang="en-US" sz="600" b="1" i="0" dirty="0">
              <a:solidFill>
                <a:srgbClr val="00B0F0"/>
              </a:solidFill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23586" name="Прямая соединительная линия 34"/>
          <p:cNvCxnSpPr>
            <a:cxnSpLocks noChangeShapeType="1"/>
          </p:cNvCxnSpPr>
          <p:nvPr/>
        </p:nvCxnSpPr>
        <p:spPr bwMode="auto">
          <a:xfrm rot="5400000" flipH="1" flipV="1">
            <a:off x="3757613" y="3309938"/>
            <a:ext cx="423862" cy="119062"/>
          </a:xfrm>
          <a:prstGeom prst="line">
            <a:avLst/>
          </a:prstGeom>
          <a:noFill/>
          <a:ln w="19050" algn="ctr">
            <a:solidFill>
              <a:srgbClr val="FFC000"/>
            </a:solidFill>
            <a:round/>
            <a:headEnd/>
            <a:tailEnd/>
          </a:ln>
        </p:spPr>
      </p:cxnSp>
      <p:cxnSp>
        <p:nvCxnSpPr>
          <p:cNvPr id="23587" name="Прямая соединительная линия 37"/>
          <p:cNvCxnSpPr>
            <a:cxnSpLocks noChangeShapeType="1"/>
          </p:cNvCxnSpPr>
          <p:nvPr/>
        </p:nvCxnSpPr>
        <p:spPr bwMode="auto">
          <a:xfrm rot="16200000" flipV="1">
            <a:off x="2800351" y="3709987"/>
            <a:ext cx="804862" cy="195263"/>
          </a:xfrm>
          <a:prstGeom prst="line">
            <a:avLst/>
          </a:prstGeom>
          <a:noFill/>
          <a:ln w="19050" algn="ctr">
            <a:solidFill>
              <a:srgbClr val="FFC000"/>
            </a:solidFill>
            <a:round/>
            <a:headEnd/>
            <a:tailEnd/>
          </a:ln>
        </p:spPr>
      </p:cxn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9EBE774C-AB12-408F-8D57-59FB86592AF5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3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83501"/>
            <a:ext cx="7352565" cy="412536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66688" y="777875"/>
            <a:ext cx="8645525" cy="5694009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Нов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мир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</a:t>
            </a:r>
          </a:p>
        </p:txBody>
      </p:sp>
      <p:sp>
        <p:nvSpPr>
          <p:cNvPr id="6149" name="Rectangle 3"/>
          <p:cNvSpPr txBox="1">
            <a:spLocks noChangeArrowheads="1"/>
          </p:cNvSpPr>
          <p:nvPr/>
        </p:nvSpPr>
        <p:spPr bwMode="gray">
          <a:xfrm>
            <a:off x="249238" y="1175984"/>
            <a:ext cx="8645525" cy="529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Современны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услови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ведени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изнеса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endParaRPr lang="en-US" alt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Беспрецедентна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нестабильность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экономики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Усложне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глобальных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сетей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Рост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ответственности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перед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заинтересованными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лицами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Как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сохранить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изнес</a:t>
            </a:r>
            <a:r>
              <a:rPr lang="en-US" sz="1500" b="0" i="0" dirty="0">
                <a:latin typeface="Arial"/>
                <a:ea typeface="ＭＳ Ｐゴシック"/>
              </a:rPr>
              <a:t>?</a:t>
            </a: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Изменит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стратегию</a:t>
            </a:r>
            <a:r>
              <a:rPr lang="en-US" sz="1500" b="0" i="0" dirty="0">
                <a:latin typeface="Arial"/>
                <a:ea typeface="ＭＳ Ｐゴシック"/>
              </a:rPr>
              <a:t> и </a:t>
            </a:r>
            <a:r>
              <a:rPr lang="en-US" sz="1500" b="0" i="0" dirty="0" err="1">
                <a:latin typeface="Arial"/>
                <a:ea typeface="ＭＳ Ｐゴシック"/>
              </a:rPr>
              <a:t>рационализируйт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 smtClean="0">
                <a:latin typeface="Arial"/>
                <a:ea typeface="ＭＳ Ｐゴシック"/>
              </a:rPr>
              <a:t>бизнес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Сделайт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изнес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оле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прозрачным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дл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заинтересованных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лиц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Углубленна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информация</a:t>
            </a:r>
            <a:r>
              <a:rPr lang="en-US" sz="1500" b="0" i="0" dirty="0">
                <a:latin typeface="Arial"/>
                <a:ea typeface="ＭＳ Ｐゴシック"/>
              </a:rPr>
              <a:t>, </a:t>
            </a:r>
            <a:r>
              <a:rPr lang="en-US" sz="1500" b="0" i="0" dirty="0" err="1">
                <a:latin typeface="Arial"/>
                <a:ea typeface="ＭＳ Ｐゴシック"/>
              </a:rPr>
              <a:t>гибкость</a:t>
            </a:r>
            <a:r>
              <a:rPr lang="en-US" sz="1500" b="0" i="0" dirty="0">
                <a:latin typeface="Arial"/>
                <a:ea typeface="ＭＳ Ｐゴシック"/>
              </a:rPr>
              <a:t> и </a:t>
            </a:r>
            <a:r>
              <a:rPr lang="en-US" sz="1500" b="0" i="0" dirty="0" err="1">
                <a:latin typeface="Arial"/>
                <a:ea typeface="ＭＳ Ｐゴシック"/>
              </a:rPr>
              <a:t>эффективность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Понима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условий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ведени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изнеса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Прогноз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исков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Принят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оле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взвешенных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ешений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Сниже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затрат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Максимально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использова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есурсов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Быстро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еагирова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на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измене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ыночной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ситуации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996696" lvl="3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Использовани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появляющихс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возможностей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182880" lvl="1" indent="-182880" algn="l">
              <a:spcBef>
                <a:spcPts val="480"/>
              </a:spcBef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Вывод</a:t>
            </a:r>
            <a:endParaRPr lang="en-US" sz="1500" b="0" i="0" dirty="0">
              <a:latin typeface="Arial"/>
              <a:ea typeface="ＭＳ Ｐゴシック"/>
            </a:endParaRPr>
          </a:p>
          <a:p>
            <a:pPr marL="539496" lvl="2" indent="-192024" algn="l">
              <a:spcBef>
                <a:spcPts val="480"/>
              </a:spcBef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latin typeface="Arial"/>
                <a:ea typeface="ＭＳ Ｐゴシック"/>
              </a:rPr>
              <a:t>Достигайт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большего</a:t>
            </a:r>
            <a:r>
              <a:rPr lang="en-US" sz="1500" b="0" i="0" dirty="0">
                <a:latin typeface="Arial"/>
                <a:ea typeface="ＭＳ Ｐゴシック"/>
              </a:rPr>
              <a:t>, </a:t>
            </a:r>
            <a:r>
              <a:rPr lang="en-US" sz="1500" b="0" i="0" dirty="0" err="1">
                <a:latin typeface="Arial"/>
                <a:ea typeface="ＭＳ Ｐゴシック"/>
              </a:rPr>
              <a:t>затрачивая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меньше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усилий</a:t>
            </a:r>
            <a:r>
              <a:rPr lang="en-US" sz="1500" b="0" i="0" dirty="0">
                <a:latin typeface="Arial"/>
                <a:ea typeface="ＭＳ Ｐゴシック"/>
              </a:rPr>
              <a:t>: </a:t>
            </a:r>
            <a:r>
              <a:rPr lang="en-US" sz="1500" b="0" i="0" dirty="0" err="1">
                <a:latin typeface="Arial"/>
                <a:ea typeface="ＭＳ Ｐゴシック"/>
              </a:rPr>
              <a:t>комплекс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решений</a:t>
            </a:r>
            <a:r>
              <a:rPr lang="en-US" sz="1500" b="0" i="0" dirty="0">
                <a:latin typeface="Arial"/>
                <a:ea typeface="ＭＳ Ｐゴシック"/>
              </a:rPr>
              <a:t> SAP Business Suite </a:t>
            </a:r>
            <a:r>
              <a:rPr lang="en-US" sz="1500" b="0" i="0" dirty="0" err="1">
                <a:latin typeface="Arial"/>
                <a:ea typeface="ＭＳ Ｐゴシック"/>
              </a:rPr>
              <a:t>поможет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>
                <a:latin typeface="Arial"/>
                <a:ea typeface="ＭＳ Ｐゴシック"/>
              </a:rPr>
              <a:t>достичь</a:t>
            </a:r>
            <a:r>
              <a:rPr lang="en-US" sz="1500" b="0" i="0" dirty="0">
                <a:latin typeface="Arial"/>
                <a:ea typeface="ＭＳ Ｐゴシック"/>
              </a:rPr>
              <a:t> </a:t>
            </a:r>
            <a:r>
              <a:rPr lang="en-US" sz="1500" b="0" i="0" dirty="0" err="1" smtClean="0">
                <a:latin typeface="Arial"/>
                <a:ea typeface="ＭＳ Ｐゴシック"/>
              </a:rPr>
              <a:t>открытости</a:t>
            </a:r>
            <a:endParaRPr lang="en-US" sz="1500" dirty="0" smtClean="0"/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E5A7C335-261C-4770-94CE-D85C6573721F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4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352565" cy="398888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8" name="Rounded 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2800350"/>
            <a:ext cx="8466138" cy="1544638"/>
          </a:xfrm>
          <a:prstGeom prst="roundRect">
            <a:avLst>
              <a:gd name="adj" fmla="val 4167"/>
            </a:avLst>
          </a:prstGeom>
          <a:solidFill>
            <a:srgbClr val="F2F2F2"/>
          </a:solidFill>
          <a:ln w="9525">
            <a:solidFill>
              <a:srgbClr val="F9F9F9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9" name="Rounded Rectangle 1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825" y="1330325"/>
            <a:ext cx="8466138" cy="1314450"/>
          </a:xfrm>
          <a:prstGeom prst="roundRect">
            <a:avLst>
              <a:gd name="adj" fmla="val 4167"/>
            </a:avLst>
          </a:prstGeom>
          <a:solidFill>
            <a:srgbClr val="F2F2F2"/>
          </a:solidFill>
          <a:ln w="9525">
            <a:solidFill>
              <a:srgbClr val="F9F9F9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10" name="Rounded Rectangle 13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0825" y="4502150"/>
            <a:ext cx="8466138" cy="2181225"/>
          </a:xfrm>
          <a:prstGeom prst="roundRect">
            <a:avLst>
              <a:gd name="adj" fmla="val 4167"/>
            </a:avLst>
          </a:prstGeom>
          <a:solidFill>
            <a:srgbClr val="F2F2F2"/>
          </a:solidFill>
          <a:ln w="9525">
            <a:solidFill>
              <a:srgbClr val="F9F9F9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>
              <a:latin typeface="+mn-lt"/>
              <a:ea typeface="+mn-ea"/>
            </a:endParaRPr>
          </a:p>
        </p:txBody>
      </p:sp>
      <p:grpSp>
        <p:nvGrpSpPr>
          <p:cNvPr id="7279" name="Group 93"/>
          <p:cNvGrpSpPr>
            <a:grpSpLocks/>
          </p:cNvGrpSpPr>
          <p:nvPr/>
        </p:nvGrpSpPr>
        <p:grpSpPr bwMode="auto">
          <a:xfrm>
            <a:off x="5957511" y="1434255"/>
            <a:ext cx="1341437" cy="228800"/>
            <a:chOff x="4298" y="2414"/>
            <a:chExt cx="1366" cy="159"/>
          </a:xfrm>
        </p:grpSpPr>
        <p:sp>
          <p:nvSpPr>
            <p:cNvPr id="7280" name="Rectangle 94"/>
            <p:cNvSpPr>
              <a:spLocks noChangeArrowheads="1"/>
            </p:cNvSpPr>
            <p:nvPr/>
          </p:nvSpPr>
          <p:spPr bwMode="gray">
            <a:xfrm>
              <a:off x="4298" y="2414"/>
              <a:ext cx="1366" cy="56"/>
            </a:xfrm>
            <a:prstGeom prst="rect">
              <a:avLst/>
            </a:prstGeom>
            <a:gradFill rotWithShape="1">
              <a:gsLst>
                <a:gs pos="0">
                  <a:srgbClr val="F2F2F2">
                    <a:alpha val="70000"/>
                  </a:srgbClr>
                </a:gs>
                <a:gs pos="100000">
                  <a:srgbClr val="F2F2F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endParaRPr lang="en-US"/>
            </a:p>
          </p:txBody>
        </p:sp>
        <p:sp>
          <p:nvSpPr>
            <p:cNvPr id="7281" name="Rectangle 95"/>
            <p:cNvSpPr>
              <a:spLocks noChangeArrowheads="1"/>
            </p:cNvSpPr>
            <p:nvPr/>
          </p:nvSpPr>
          <p:spPr bwMode="gray">
            <a:xfrm flipV="1">
              <a:off x="4298" y="2468"/>
              <a:ext cx="1366" cy="105"/>
            </a:xfrm>
            <a:prstGeom prst="rect">
              <a:avLst/>
            </a:prstGeom>
            <a:solidFill>
              <a:srgbClr val="F2F2F2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46800" rIns="90000" bIns="46800" anchor="ctr"/>
            <a:lstStyle/>
            <a:p>
              <a:pPr algn="ctr"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endParaRPr lang="en-US"/>
            </a:p>
          </p:txBody>
        </p:sp>
      </p:grpSp>
      <p:sp>
        <p:nvSpPr>
          <p:cNvPr id="7177" name="Text Box 4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92363" y="3455988"/>
            <a:ext cx="3395662" cy="581025"/>
          </a:xfrm>
          <a:prstGeom prst="rect">
            <a:avLst/>
          </a:prstGeom>
          <a:noFill/>
          <a:ln w="12700">
            <a:noFill/>
            <a:round/>
            <a:headEnd/>
            <a:tailEnd type="triangle" w="med" len="med"/>
          </a:ln>
        </p:spPr>
        <p:txBody>
          <a:bodyPr lIns="90000" tIns="46800" rIns="90000" bIns="46800" anchor="ctr">
            <a:sp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1600" b="1" i="0">
                <a:latin typeface="Arial Black"/>
                <a:ea typeface="ＭＳ Ｐゴシック"/>
                <a:cs typeface="Arial"/>
              </a:rPr>
              <a:t/>
            </a:r>
            <a:br>
              <a:rPr lang="en-US" sz="1600" b="1" i="0">
                <a:latin typeface="Arial Black"/>
                <a:ea typeface="ＭＳ Ｐゴシック"/>
                <a:cs typeface="Arial"/>
              </a:rPr>
            </a:br>
            <a:endParaRPr lang="en-US" sz="1600" b="1" i="0">
              <a:latin typeface="Arial Black"/>
              <a:ea typeface="ＭＳ Ｐゴシック"/>
              <a:cs typeface="Arial"/>
            </a:endParaRPr>
          </a:p>
        </p:txBody>
      </p:sp>
      <p:sp>
        <p:nvSpPr>
          <p:cNvPr id="7178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1488" y="3505200"/>
            <a:ext cx="4495800" cy="684213"/>
          </a:xfrm>
          <a:prstGeom prst="roundRect">
            <a:avLst>
              <a:gd name="adj" fmla="val 12449"/>
            </a:avLst>
          </a:prstGeom>
          <a:gradFill rotWithShape="1">
            <a:gsLst>
              <a:gs pos="0">
                <a:srgbClr val="336699"/>
              </a:gs>
              <a:gs pos="100000">
                <a:srgbClr val="003366"/>
              </a:gs>
            </a:gsLst>
            <a:lin ang="2700000" scaled="1"/>
          </a:gradFill>
          <a:ln w="12700">
            <a:noFill/>
            <a:round/>
            <a:headEnd/>
            <a:tailEnd/>
          </a:ln>
          <a:effectLst>
            <a:prstShdw prst="shdw17" dist="17961" dir="2700000">
              <a:srgbClr val="777777">
                <a:alpha val="74997"/>
              </a:srgbClr>
            </a:prstShdw>
          </a:effectLst>
        </p:spPr>
        <p:txBody>
          <a:bodyPr wrap="none" lIns="0" tIns="0" rIns="0" bIns="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sz="14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7" name="AutoShape 3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1638" y="4795837"/>
            <a:ext cx="4494212" cy="1277938"/>
          </a:xfrm>
          <a:prstGeom prst="roundRect">
            <a:avLst>
              <a:gd name="adj" fmla="val 6801"/>
            </a:avLst>
          </a:prstGeom>
          <a:gradFill rotWithShape="1">
            <a:gsLst>
              <a:gs pos="0">
                <a:srgbClr val="336699"/>
              </a:gs>
              <a:gs pos="100000">
                <a:srgbClr val="003366"/>
              </a:gs>
            </a:gsLst>
            <a:lin ang="2700000" scaled="1"/>
          </a:gradFill>
          <a:ln w="12700">
            <a:solidFill>
              <a:srgbClr val="C6C6C6"/>
            </a:solidFill>
            <a:round/>
            <a:headEnd/>
            <a:tailEnd/>
          </a:ln>
          <a:effectLst>
            <a:prstShdw prst="shdw17" dist="17961" dir="2700000">
              <a:srgbClr val="777777"/>
            </a:prstShdw>
          </a:effectLst>
        </p:spPr>
        <p:txBody>
          <a:bodyPr wrap="none" lIns="0" tIns="0" rIns="0" bIns="36000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400" b="1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7180" name="AutoShap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1638" y="6145213"/>
            <a:ext cx="4511675" cy="352425"/>
          </a:xfrm>
          <a:prstGeom prst="roundRect">
            <a:avLst>
              <a:gd name="adj" fmla="val 12449"/>
            </a:avLst>
          </a:prstGeom>
          <a:gradFill rotWithShape="1">
            <a:gsLst>
              <a:gs pos="0">
                <a:srgbClr val="97B8DD"/>
              </a:gs>
              <a:gs pos="100000">
                <a:srgbClr val="487AB2"/>
              </a:gs>
            </a:gsLst>
            <a:lin ang="2700000" scaled="1"/>
          </a:gradFill>
          <a:ln w="12700">
            <a:solidFill>
              <a:srgbClr val="C6C6C6"/>
            </a:solidFill>
            <a:round/>
            <a:headEnd/>
            <a:tailEnd/>
          </a:ln>
          <a:effectLst>
            <a:prstShdw prst="shdw17" dist="17961" dir="2700000">
              <a:srgbClr val="777777">
                <a:alpha val="74997"/>
              </a:srgbClr>
            </a:prstShdw>
          </a:effectLst>
        </p:spPr>
        <p:txBody>
          <a:bodyPr wrap="none" lIns="0" tIns="0" rIns="0" bIns="0" anchor="ctr"/>
          <a:lstStyle/>
          <a:p>
            <a:pPr algn="ctr">
              <a:spcBef>
                <a:spcPts val="1080"/>
              </a:spcBef>
              <a:buNone/>
            </a:pPr>
            <a:r>
              <a:rPr lang="en-US" sz="1200" b="1" i="0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SAP NetWeaver</a:t>
            </a:r>
          </a:p>
        </p:txBody>
      </p:sp>
      <p:sp>
        <p:nvSpPr>
          <p:cNvPr id="7181" name="AutoShape 8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04838" y="4949825"/>
            <a:ext cx="479425" cy="271463"/>
          </a:xfrm>
          <a:prstGeom prst="chevron">
            <a:avLst>
              <a:gd name="adj" fmla="val 43596"/>
            </a:avLst>
          </a:prstGeom>
          <a:solidFill>
            <a:srgbClr val="3366FF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2" name="AutoShape 8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009650" y="4948238"/>
            <a:ext cx="477838" cy="271462"/>
          </a:xfrm>
          <a:prstGeom prst="chevron">
            <a:avLst>
              <a:gd name="adj" fmla="val 43452"/>
            </a:avLst>
          </a:prstGeom>
          <a:solidFill>
            <a:srgbClr val="3366FF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3" name="AutoShape 8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412875" y="4946650"/>
            <a:ext cx="479425" cy="271463"/>
          </a:xfrm>
          <a:prstGeom prst="chevron">
            <a:avLst>
              <a:gd name="adj" fmla="val 43596"/>
            </a:avLst>
          </a:prstGeom>
          <a:solidFill>
            <a:srgbClr val="3366FF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4" name="AutoShape 8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381125" y="5260975"/>
            <a:ext cx="479425" cy="273050"/>
          </a:xfrm>
          <a:prstGeom prst="chevron">
            <a:avLst>
              <a:gd name="adj" fmla="val 43351"/>
            </a:avLst>
          </a:prstGeom>
          <a:solidFill>
            <a:srgbClr val="CCFFCC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5" name="AutoShape 8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785938" y="5259388"/>
            <a:ext cx="479425" cy="273050"/>
          </a:xfrm>
          <a:prstGeom prst="chevron">
            <a:avLst>
              <a:gd name="adj" fmla="val 43351"/>
            </a:avLst>
          </a:prstGeom>
          <a:solidFill>
            <a:srgbClr val="CCFFCC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6" name="AutoShape 9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90750" y="5257800"/>
            <a:ext cx="477838" cy="273050"/>
          </a:xfrm>
          <a:prstGeom prst="chevron">
            <a:avLst>
              <a:gd name="adj" fmla="val 43207"/>
            </a:avLst>
          </a:prstGeom>
          <a:solidFill>
            <a:srgbClr val="CCFFCC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7" name="AutoShape 9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703513" y="5478463"/>
            <a:ext cx="479425" cy="273050"/>
          </a:xfrm>
          <a:prstGeom prst="chevron">
            <a:avLst>
              <a:gd name="adj" fmla="val 43343"/>
            </a:avLst>
          </a:prstGeom>
          <a:solidFill>
            <a:srgbClr val="FFCC00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8" name="AutoShape 9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108325" y="5476875"/>
            <a:ext cx="479425" cy="273050"/>
          </a:xfrm>
          <a:prstGeom prst="chevron">
            <a:avLst>
              <a:gd name="adj" fmla="val 43343"/>
            </a:avLst>
          </a:prstGeom>
          <a:solidFill>
            <a:srgbClr val="FFCC00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89" name="AutoShape 9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513138" y="5475288"/>
            <a:ext cx="479425" cy="273050"/>
          </a:xfrm>
          <a:prstGeom prst="chevron">
            <a:avLst>
              <a:gd name="adj" fmla="val 43343"/>
            </a:avLst>
          </a:prstGeom>
          <a:solidFill>
            <a:srgbClr val="FFCC00"/>
          </a:solidFill>
          <a:ln w="12700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b="1">
              <a:cs typeface="Arial" charset="0"/>
            </a:endParaRPr>
          </a:p>
        </p:txBody>
      </p:sp>
      <p:sp>
        <p:nvSpPr>
          <p:cNvPr id="7190" name="Rectangle 98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308225" y="5807075"/>
            <a:ext cx="493713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>
              <a:buNone/>
            </a:pPr>
            <a:r>
              <a:rPr lang="en-US" sz="12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ERP</a:t>
            </a:r>
          </a:p>
        </p:txBody>
      </p:sp>
      <p:sp>
        <p:nvSpPr>
          <p:cNvPr id="7191" name="Rectangle 99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192104" y="5730837"/>
            <a:ext cx="976421" cy="371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buNone/>
            </a:pP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Управление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жизненным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циклом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продукта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(PLM)</a:t>
            </a:r>
          </a:p>
        </p:txBody>
      </p:sp>
      <p:sp>
        <p:nvSpPr>
          <p:cNvPr id="7192" name="Rectangle 10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635445" y="5730837"/>
            <a:ext cx="1020568" cy="371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buNone/>
            </a:pP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Управление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логистической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цепочкой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(SCM)</a:t>
            </a:r>
          </a:p>
        </p:txBody>
      </p:sp>
      <p:sp>
        <p:nvSpPr>
          <p:cNvPr id="7193" name="Rectangle 101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94491" y="5807075"/>
            <a:ext cx="519113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>
              <a:buNone/>
            </a:pPr>
            <a:r>
              <a:rPr lang="en-US" sz="12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УВП</a:t>
            </a:r>
          </a:p>
        </p:txBody>
      </p:sp>
      <p:sp>
        <p:nvSpPr>
          <p:cNvPr id="7194" name="Rectangle 10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472899" y="5730837"/>
            <a:ext cx="1022840" cy="3715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buNone/>
            </a:pP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Управление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взаимоотношениями</a:t>
            </a:r>
            <a:r>
              <a:rPr lang="en-US" sz="6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с </a:t>
            </a:r>
            <a:r>
              <a:rPr lang="en-US" sz="6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клиентами</a:t>
            </a:r>
            <a:endParaRPr lang="en-US" sz="600" b="1" i="0" dirty="0">
              <a:solidFill>
                <a:srgbClr val="CDD5E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195" name="Rectangle 13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416425" y="5807075"/>
            <a:ext cx="325438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>
              <a:buNone/>
            </a:pPr>
            <a:r>
              <a:rPr lang="en-US" sz="12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IS</a:t>
            </a:r>
          </a:p>
        </p:txBody>
      </p:sp>
      <p:sp>
        <p:nvSpPr>
          <p:cNvPr id="7196" name="AutoShape 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71488" y="1538288"/>
            <a:ext cx="4495800" cy="889000"/>
          </a:xfrm>
          <a:prstGeom prst="roundRect">
            <a:avLst>
              <a:gd name="adj" fmla="val 12449"/>
            </a:avLst>
          </a:prstGeom>
          <a:gradFill rotWithShape="1">
            <a:gsLst>
              <a:gs pos="0">
                <a:srgbClr val="336699"/>
              </a:gs>
              <a:gs pos="100000">
                <a:srgbClr val="003366"/>
              </a:gs>
            </a:gsLst>
            <a:lin ang="2700000" scaled="1"/>
          </a:gradFill>
          <a:ln w="12700">
            <a:noFill/>
            <a:round/>
            <a:headEnd/>
            <a:tailEnd/>
          </a:ln>
          <a:effectLst>
            <a:prstShdw prst="shdw17" dist="17961" dir="2700000">
              <a:srgbClr val="777777">
                <a:alpha val="74997"/>
              </a:srgbClr>
            </a:prstShdw>
          </a:effectLst>
        </p:spPr>
        <p:txBody>
          <a:bodyPr wrap="none" lIns="0" tIns="0" rIns="0" bIns="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sz="1400" b="1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7197" name="AutoShape 128"/>
          <p:cNvCxnSpPr>
            <a:cxnSpLocks noChangeShapeType="1"/>
            <a:endCxn id="7181" idx="0"/>
          </p:cNvCxnSpPr>
          <p:nvPr>
            <p:custDataLst>
              <p:tags r:id="rId24"/>
            </p:custDataLst>
          </p:nvPr>
        </p:nvCxnSpPr>
        <p:spPr bwMode="gray">
          <a:xfrm flipH="1">
            <a:off x="785813" y="3887788"/>
            <a:ext cx="2293937" cy="1062037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198" name="AutoShape 124"/>
          <p:cNvCxnSpPr>
            <a:cxnSpLocks noChangeShapeType="1"/>
            <a:endCxn id="7183" idx="0"/>
          </p:cNvCxnSpPr>
          <p:nvPr>
            <p:custDataLst>
              <p:tags r:id="rId25"/>
            </p:custDataLst>
          </p:nvPr>
        </p:nvCxnSpPr>
        <p:spPr bwMode="gray">
          <a:xfrm flipH="1">
            <a:off x="1593850" y="3887788"/>
            <a:ext cx="1489075" cy="1058862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199" name="AutoShape 127"/>
          <p:cNvCxnSpPr>
            <a:cxnSpLocks noChangeShapeType="1"/>
            <a:endCxn id="7182" idx="0"/>
          </p:cNvCxnSpPr>
          <p:nvPr>
            <p:custDataLst>
              <p:tags r:id="rId26"/>
            </p:custDataLst>
          </p:nvPr>
        </p:nvCxnSpPr>
        <p:spPr bwMode="gray">
          <a:xfrm flipH="1">
            <a:off x="1189038" y="3887788"/>
            <a:ext cx="1893887" cy="1060450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200" name="AutoShape 125"/>
          <p:cNvCxnSpPr>
            <a:cxnSpLocks noChangeShapeType="1"/>
            <a:endCxn id="7185" idx="0"/>
          </p:cNvCxnSpPr>
          <p:nvPr>
            <p:custDataLst>
              <p:tags r:id="rId27"/>
            </p:custDataLst>
          </p:nvPr>
        </p:nvCxnSpPr>
        <p:spPr bwMode="gray">
          <a:xfrm flipH="1">
            <a:off x="1966913" y="3881438"/>
            <a:ext cx="1128712" cy="1377950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201" name="AutoShape 129"/>
          <p:cNvCxnSpPr>
            <a:cxnSpLocks noChangeShapeType="1"/>
            <a:endCxn id="7186" idx="0"/>
          </p:cNvCxnSpPr>
          <p:nvPr>
            <p:custDataLst>
              <p:tags r:id="rId28"/>
            </p:custDataLst>
          </p:nvPr>
        </p:nvCxnSpPr>
        <p:spPr bwMode="gray">
          <a:xfrm flipH="1">
            <a:off x="2370138" y="3881438"/>
            <a:ext cx="725487" cy="1376362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202" name="AutoShape 132"/>
          <p:cNvCxnSpPr>
            <a:cxnSpLocks noChangeShapeType="1"/>
            <a:endCxn id="7188" idx="0"/>
          </p:cNvCxnSpPr>
          <p:nvPr>
            <p:custDataLst>
              <p:tags r:id="rId29"/>
            </p:custDataLst>
          </p:nvPr>
        </p:nvCxnSpPr>
        <p:spPr bwMode="gray">
          <a:xfrm>
            <a:off x="3089275" y="3792538"/>
            <a:ext cx="200025" cy="1684337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203" name="AutoShape 133"/>
          <p:cNvCxnSpPr>
            <a:cxnSpLocks noChangeShapeType="1"/>
            <a:endCxn id="7189" idx="0"/>
          </p:cNvCxnSpPr>
          <p:nvPr>
            <p:custDataLst>
              <p:tags r:id="rId30"/>
            </p:custDataLst>
          </p:nvPr>
        </p:nvCxnSpPr>
        <p:spPr bwMode="gray">
          <a:xfrm>
            <a:off x="3089275" y="3792538"/>
            <a:ext cx="604838" cy="1682750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cxnSp>
        <p:nvCxnSpPr>
          <p:cNvPr id="7204" name="AutoShape 132"/>
          <p:cNvCxnSpPr>
            <a:cxnSpLocks noChangeShapeType="1"/>
            <a:endCxn id="7187" idx="0"/>
          </p:cNvCxnSpPr>
          <p:nvPr>
            <p:custDataLst>
              <p:tags r:id="rId31"/>
            </p:custDataLst>
          </p:nvPr>
        </p:nvCxnSpPr>
        <p:spPr bwMode="gray">
          <a:xfrm flipH="1">
            <a:off x="2884488" y="3792538"/>
            <a:ext cx="204787" cy="1685925"/>
          </a:xfrm>
          <a:prstGeom prst="straightConnector1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</p:cxnSp>
      <p:grpSp>
        <p:nvGrpSpPr>
          <p:cNvPr id="7205" name="Group 43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2808288" y="4591050"/>
            <a:ext cx="2020887" cy="409575"/>
            <a:chOff x="1115" y="2428"/>
            <a:chExt cx="844" cy="312"/>
          </a:xfrm>
        </p:grpSpPr>
        <p:sp>
          <p:nvSpPr>
            <p:cNvPr id="7270" name="AutoShape 10"/>
            <p:cNvSpPr>
              <a:spLocks noChangeArrowheads="1"/>
            </p:cNvSpPr>
            <p:nvPr/>
          </p:nvSpPr>
          <p:spPr bwMode="gray">
            <a:xfrm flipV="1">
              <a:off x="1115" y="2563"/>
              <a:ext cx="247" cy="177"/>
            </a:xfrm>
            <a:prstGeom prst="roundRect">
              <a:avLst>
                <a:gd name="adj" fmla="val 11296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rgbClr val="FFE49F"/>
                </a:gs>
              </a:gsLst>
              <a:lin ang="5400000" scaled="1"/>
            </a:gradFill>
            <a:ln w="12700">
              <a:solidFill>
                <a:srgbClr val="C6C6C6"/>
              </a:solidFill>
              <a:round/>
              <a:headEnd/>
              <a:tailEnd/>
            </a:ln>
            <a:effectLst>
              <a:prstShdw prst="shdw17" dist="17961" dir="2700000">
                <a:srgbClr val="777777">
                  <a:alpha val="74997"/>
                </a:srgbClr>
              </a:prstShdw>
            </a:effectLst>
          </p:spPr>
          <p:txBody>
            <a:bodyPr rot="10800000" wrap="none" lIns="0" tIns="0" rIns="0" bIns="0" anchor="ctr"/>
            <a:lstStyle/>
            <a:p>
              <a:pPr algn="ctr">
                <a:buNone/>
              </a:pPr>
              <a:r>
                <a:rPr lang="en-US" sz="1000" b="1" i="0">
                  <a:latin typeface="Arial"/>
                  <a:ea typeface="ＭＳ Ｐゴシック"/>
                  <a:cs typeface="Arial"/>
                </a:rPr>
                <a:t>EhP</a:t>
              </a:r>
            </a:p>
          </p:txBody>
        </p:sp>
        <p:sp>
          <p:nvSpPr>
            <p:cNvPr id="7271" name="AutoShape 11"/>
            <p:cNvSpPr>
              <a:spLocks noChangeArrowheads="1"/>
            </p:cNvSpPr>
            <p:nvPr/>
          </p:nvSpPr>
          <p:spPr bwMode="gray">
            <a:xfrm flipV="1">
              <a:off x="1413" y="2501"/>
              <a:ext cx="247" cy="239"/>
            </a:xfrm>
            <a:prstGeom prst="roundRect">
              <a:avLst>
                <a:gd name="adj" fmla="val 11296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rgbClr val="FFE49F"/>
                </a:gs>
              </a:gsLst>
              <a:lin ang="5400000" scaled="1"/>
            </a:gradFill>
            <a:ln w="12700">
              <a:solidFill>
                <a:srgbClr val="C6C6C6"/>
              </a:solidFill>
              <a:round/>
              <a:headEnd/>
              <a:tailEnd/>
            </a:ln>
            <a:effectLst>
              <a:prstShdw prst="shdw17" dist="17961" dir="2700000">
                <a:srgbClr val="777777">
                  <a:alpha val="74997"/>
                </a:srgbClr>
              </a:prstShdw>
            </a:effectLst>
          </p:spPr>
          <p:txBody>
            <a:bodyPr rot="10800000" wrap="none" lIns="0" tIns="0" rIns="0" bIns="0" anchor="ctr"/>
            <a:lstStyle/>
            <a:p>
              <a:pPr algn="ctr">
                <a:buNone/>
              </a:pPr>
              <a:r>
                <a:rPr lang="en-US" sz="1000" b="1" i="0">
                  <a:latin typeface="Arial"/>
                  <a:ea typeface="ＭＳ Ｐゴシック"/>
                  <a:cs typeface="Arial"/>
                </a:rPr>
                <a:t>EhP</a:t>
              </a:r>
            </a:p>
          </p:txBody>
        </p:sp>
        <p:sp>
          <p:nvSpPr>
            <p:cNvPr id="7272" name="AutoShape 12"/>
            <p:cNvSpPr>
              <a:spLocks noChangeArrowheads="1"/>
            </p:cNvSpPr>
            <p:nvPr/>
          </p:nvSpPr>
          <p:spPr bwMode="gray">
            <a:xfrm flipV="1">
              <a:off x="1712" y="2428"/>
              <a:ext cx="247" cy="312"/>
            </a:xfrm>
            <a:prstGeom prst="roundRect">
              <a:avLst>
                <a:gd name="adj" fmla="val 11296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rgbClr val="FFE49F"/>
                </a:gs>
              </a:gsLst>
              <a:lin ang="5400000" scaled="1"/>
            </a:gradFill>
            <a:ln w="12700">
              <a:solidFill>
                <a:srgbClr val="C6C6C6"/>
              </a:solidFill>
              <a:round/>
              <a:headEnd/>
              <a:tailEnd/>
            </a:ln>
            <a:effectLst>
              <a:prstShdw prst="shdw17" dist="17961" dir="2700000">
                <a:srgbClr val="777777">
                  <a:alpha val="74997"/>
                </a:srgbClr>
              </a:prstShdw>
            </a:effectLst>
          </p:spPr>
          <p:txBody>
            <a:bodyPr rot="10800000" wrap="none" lIns="0" tIns="0" rIns="0" bIns="0" anchor="ctr"/>
            <a:lstStyle/>
            <a:p>
              <a:pPr algn="ctr">
                <a:buNone/>
              </a:pPr>
              <a:r>
                <a:rPr lang="en-US" sz="1000" b="1" i="0">
                  <a:latin typeface="Arial"/>
                  <a:ea typeface="ＭＳ Ｐゴシック"/>
                  <a:cs typeface="Arial"/>
                </a:rPr>
                <a:t>EhP</a:t>
              </a:r>
            </a:p>
          </p:txBody>
        </p:sp>
      </p:grpSp>
      <p:sp>
        <p:nvSpPr>
          <p:cNvPr id="7207" name="AutoShape 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99326" y="2979788"/>
            <a:ext cx="4495800" cy="488950"/>
          </a:xfrm>
          <a:prstGeom prst="roundRect">
            <a:avLst>
              <a:gd name="adj" fmla="val 12449"/>
            </a:avLst>
          </a:prstGeom>
          <a:gradFill rotWithShape="1">
            <a:gsLst>
              <a:gs pos="0">
                <a:srgbClr val="336699"/>
              </a:gs>
              <a:gs pos="100000">
                <a:srgbClr val="003366"/>
              </a:gs>
            </a:gsLst>
            <a:lin ang="2700000" scaled="1"/>
          </a:gradFill>
          <a:ln w="12700">
            <a:noFill/>
            <a:round/>
            <a:headEnd/>
            <a:tailEnd/>
          </a:ln>
          <a:effectLst>
            <a:prstShdw prst="shdw17" dist="17961" dir="2700000">
              <a:srgbClr val="777777">
                <a:alpha val="74997"/>
              </a:srgbClr>
            </a:prstShdw>
          </a:effectLst>
        </p:spPr>
        <p:txBody>
          <a:bodyPr wrap="none" lIns="0" tIns="0" rIns="0" bIns="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en-US" sz="14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9" name="AutoShape 117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84200" y="3041650"/>
            <a:ext cx="477838" cy="271463"/>
          </a:xfrm>
          <a:prstGeom prst="chevron">
            <a:avLst>
              <a:gd name="adj" fmla="val 43580"/>
            </a:avLst>
          </a:prstGeom>
          <a:solidFill>
            <a:srgbClr val="3366FF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0" name="AutoShape 118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987425" y="3041650"/>
            <a:ext cx="479425" cy="271463"/>
          </a:xfrm>
          <a:prstGeom prst="chevron">
            <a:avLst>
              <a:gd name="adj" fmla="val 43580"/>
            </a:avLst>
          </a:prstGeom>
          <a:solidFill>
            <a:srgbClr val="3366FF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1" name="AutoShape 119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392238" y="3041650"/>
            <a:ext cx="477837" cy="271463"/>
          </a:xfrm>
          <a:prstGeom prst="chevron">
            <a:avLst>
              <a:gd name="adj" fmla="val 43580"/>
            </a:avLst>
          </a:prstGeom>
          <a:solidFill>
            <a:srgbClr val="FFCC00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2" name="AutoShape 120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933575" y="3044825"/>
            <a:ext cx="477838" cy="271463"/>
          </a:xfrm>
          <a:prstGeom prst="chevron">
            <a:avLst>
              <a:gd name="adj" fmla="val 43580"/>
            </a:avLst>
          </a:prstGeom>
          <a:solidFill>
            <a:srgbClr val="CCFFCC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3" name="AutoShape 121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2336800" y="3043238"/>
            <a:ext cx="479425" cy="271462"/>
          </a:xfrm>
          <a:prstGeom prst="chevron">
            <a:avLst>
              <a:gd name="adj" fmla="val 43580"/>
            </a:avLst>
          </a:prstGeom>
          <a:solidFill>
            <a:srgbClr val="3366FF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4" name="AutoShape 122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2894013" y="3041650"/>
            <a:ext cx="479425" cy="271463"/>
          </a:xfrm>
          <a:prstGeom prst="chevron">
            <a:avLst>
              <a:gd name="adj" fmla="val 43580"/>
            </a:avLst>
          </a:prstGeom>
          <a:solidFill>
            <a:srgbClr val="CCFFCC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65" name="AutoShape 123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292475" y="3040063"/>
            <a:ext cx="477838" cy="271462"/>
          </a:xfrm>
          <a:prstGeom prst="chevron">
            <a:avLst>
              <a:gd name="adj" fmla="val 43580"/>
            </a:avLst>
          </a:prstGeom>
          <a:solidFill>
            <a:srgbClr val="FFCC00"/>
          </a:solidFill>
          <a:ln w="12700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 sz="1800" b="1">
              <a:ea typeface="+mn-ea"/>
              <a:cs typeface="Arial" charset="0"/>
            </a:endParaRPr>
          </a:p>
        </p:txBody>
      </p:sp>
      <p:sp>
        <p:nvSpPr>
          <p:cNvPr id="7215" name="Rectangle 1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701675" y="3563938"/>
            <a:ext cx="161290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buNone/>
            </a:pPr>
            <a:r>
              <a:rPr lang="ru-RU" sz="1000" b="1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Корпоративный </a:t>
            </a:r>
            <a:r>
              <a:rPr lang="ru-RU" sz="1000" b="1" dirty="0" smtClean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/>
            </a:r>
            <a:br>
              <a:rPr lang="ru-RU" sz="1000" b="1" dirty="0" smtClean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</a:br>
            <a:r>
              <a:rPr lang="ru-RU" sz="1000" b="1" dirty="0" err="1" smtClean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репозиторий</a:t>
            </a:r>
            <a:r>
              <a:rPr lang="ru-RU" sz="1000" b="1" dirty="0" smtClean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ru-RU" sz="1000" b="1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сервисов</a:t>
            </a:r>
            <a:endParaRPr lang="en-US" sz="1000" b="1" i="0" dirty="0">
              <a:solidFill>
                <a:srgbClr val="CDD5E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216" name="Rectangle 116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3774339" y="3068688"/>
            <a:ext cx="1093787" cy="24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buNone/>
            </a:pPr>
            <a:r>
              <a:rPr lang="en-US" sz="8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Композитные</a:t>
            </a:r>
            <a:r>
              <a:rPr lang="en-US" sz="8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8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решения</a:t>
            </a:r>
            <a:endParaRPr lang="en-US" sz="800" b="1" i="0" dirty="0">
              <a:solidFill>
                <a:srgbClr val="CDD5E1"/>
              </a:solidFill>
              <a:latin typeface="Arial"/>
              <a:ea typeface="ＭＳ Ｐゴシック"/>
              <a:cs typeface="Arial"/>
            </a:endParaRPr>
          </a:p>
          <a:p>
            <a:pPr>
              <a:buNone/>
            </a:pPr>
            <a:r>
              <a:rPr lang="en-US" sz="800" b="1" i="0" dirty="0" err="1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посредством</a:t>
            </a:r>
            <a:r>
              <a:rPr lang="en-US" sz="800" b="1" i="0" dirty="0">
                <a:solidFill>
                  <a:srgbClr val="CDD5E1"/>
                </a:solidFill>
                <a:latin typeface="Arial"/>
                <a:ea typeface="ＭＳ Ｐゴシック"/>
                <a:cs typeface="Arial"/>
              </a:rPr>
              <a:t> Galaxy</a:t>
            </a:r>
          </a:p>
        </p:txBody>
      </p:sp>
      <p:grpSp>
        <p:nvGrpSpPr>
          <p:cNvPr id="7217" name="Group 37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2676525" y="3581400"/>
            <a:ext cx="731838" cy="544513"/>
            <a:chOff x="4054" y="1499"/>
            <a:chExt cx="1096" cy="942"/>
          </a:xfrm>
        </p:grpSpPr>
        <p:pic>
          <p:nvPicPr>
            <p:cNvPr id="7246" name="Picture 38" descr="esr"/>
            <p:cNvPicPr>
              <a:picLocks noChangeAspect="1" noChangeArrowheads="1"/>
            </p:cNvPicPr>
            <p:nvPr/>
          </p:nvPicPr>
          <p:blipFill>
            <a:blip r:embed="rId49" cstate="print"/>
            <a:srcRect/>
            <a:stretch>
              <a:fillRect/>
            </a:stretch>
          </p:blipFill>
          <p:spPr bwMode="gray">
            <a:xfrm>
              <a:off x="4054" y="1529"/>
              <a:ext cx="1096" cy="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247" name="Group 39"/>
            <p:cNvGrpSpPr>
              <a:grpSpLocks/>
            </p:cNvGrpSpPr>
            <p:nvPr/>
          </p:nvGrpSpPr>
          <p:grpSpPr bwMode="auto">
            <a:xfrm>
              <a:off x="4063" y="1499"/>
              <a:ext cx="1056" cy="528"/>
              <a:chOff x="3819" y="411"/>
              <a:chExt cx="654" cy="385"/>
            </a:xfrm>
          </p:grpSpPr>
          <p:grpSp>
            <p:nvGrpSpPr>
              <p:cNvPr id="7248" name="Group 40"/>
              <p:cNvGrpSpPr>
                <a:grpSpLocks/>
              </p:cNvGrpSpPr>
              <p:nvPr/>
            </p:nvGrpSpPr>
            <p:grpSpPr bwMode="auto">
              <a:xfrm>
                <a:off x="3846" y="444"/>
                <a:ext cx="608" cy="308"/>
                <a:chOff x="3846" y="444"/>
                <a:chExt cx="608" cy="308"/>
              </a:xfrm>
            </p:grpSpPr>
            <p:pic>
              <p:nvPicPr>
                <p:cNvPr id="7250" name="Picture 41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3961" y="561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1" name="Picture 42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4143" y="483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2" name="Picture 43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3940" y="483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3" name="Picture 44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4016" y="524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4" name="Picture 45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4157" y="519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5" name="Picture 46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4164" y="670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6" name="Picture 47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4222" y="524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7" name="Picture 48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3942" y="641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8" name="Picture 49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4139" y="605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59" name="Picture 50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3846" y="524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0" name="Picture 51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4082" y="573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1" name="Picture 52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4041" y="664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2" name="Picture 53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4248" y="602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3" name="Picture 54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4016" y="458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4" name="Picture 55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3879" y="607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5" name="Picture 56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3920" y="477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6" name="Picture 57" descr="lt blue sm"/>
                <p:cNvPicPr>
                  <a:picLocks noChangeAspect="1" noChangeArrowheads="1"/>
                </p:cNvPicPr>
                <p:nvPr/>
              </p:nvPicPr>
              <p:blipFill>
                <a:blip r:embed="rId52" cstate="print"/>
                <a:srcRect/>
                <a:stretch>
                  <a:fillRect/>
                </a:stretch>
              </p:blipFill>
              <p:spPr bwMode="gray">
                <a:xfrm>
                  <a:off x="4319" y="545"/>
                  <a:ext cx="135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7" name="Picture 58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4234" y="644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8" name="Picture 59" descr="sm purple"/>
                <p:cNvPicPr>
                  <a:picLocks noChangeAspect="1" noChangeArrowheads="1"/>
                </p:cNvPicPr>
                <p:nvPr/>
              </p:nvPicPr>
              <p:blipFill>
                <a:blip r:embed="rId51" cstate="print"/>
                <a:srcRect/>
                <a:stretch>
                  <a:fillRect/>
                </a:stretch>
              </p:blipFill>
              <p:spPr bwMode="gray">
                <a:xfrm>
                  <a:off x="4235" y="476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7269" name="Picture 60" descr="sm red"/>
                <p:cNvPicPr>
                  <a:picLocks noChangeAspect="1" noChangeArrowheads="1"/>
                </p:cNvPicPr>
                <p:nvPr/>
              </p:nvPicPr>
              <p:blipFill>
                <a:blip r:embed="rId50" cstate="print"/>
                <a:srcRect/>
                <a:stretch>
                  <a:fillRect/>
                </a:stretch>
              </p:blipFill>
              <p:spPr bwMode="gray">
                <a:xfrm>
                  <a:off x="4143" y="444"/>
                  <a:ext cx="136" cy="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7249" name="Picture 61" descr="top of ESR"/>
              <p:cNvPicPr>
                <a:picLocks noChangeAspect="1" noChangeArrowheads="1"/>
              </p:cNvPicPr>
              <p:nvPr/>
            </p:nvPicPr>
            <p:blipFill>
              <a:blip r:embed="rId53" cstate="print"/>
              <a:srcRect/>
              <a:stretch>
                <a:fillRect/>
              </a:stretch>
            </p:blipFill>
            <p:spPr bwMode="gray">
              <a:xfrm>
                <a:off x="3819" y="411"/>
                <a:ext cx="654" cy="3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7218" name="TextBox 136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5502660" y="4776130"/>
            <a:ext cx="3121025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182880" indent="-182880" algn="ctr">
              <a:buNone/>
            </a:pPr>
            <a:r>
              <a:rPr lang="en-US" sz="1000" b="1" i="0" dirty="0" err="1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чтобы</a:t>
            </a:r>
            <a:r>
              <a:rPr lang="en-US" sz="1000" b="1" i="0" dirty="0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ориентироваться</a:t>
            </a:r>
            <a:r>
              <a:rPr lang="en-US" sz="1000" b="1" i="0" dirty="0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на</a:t>
            </a:r>
            <a:r>
              <a:rPr lang="en-US" sz="1000" b="1" i="0" dirty="0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создание</a:t>
            </a:r>
            <a:r>
              <a:rPr lang="en-US" sz="1000" b="1" i="0" dirty="0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04357B"/>
                </a:solidFill>
                <a:latin typeface="Arial"/>
                <a:ea typeface="ＭＳ Ｐゴシック"/>
                <a:cs typeface="+mn-cs"/>
              </a:rPr>
              <a:t>ценности</a:t>
            </a:r>
            <a:endParaRPr lang="en-US" sz="1000" b="1" i="0" dirty="0">
              <a:solidFill>
                <a:srgbClr val="04357B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роцессы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н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снов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ередовы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рактик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оздан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для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направлени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в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трасли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огласованны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ользовательски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нтерфейс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оэтапно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внедрение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Reduced cost of implementation </a:t>
            </a:r>
            <a:b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</a:b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and operation </a:t>
            </a:r>
          </a:p>
          <a:p>
            <a:pPr marL="182880" indent="-182880" algn="l">
              <a:buClr>
                <a:srgbClr val="04357B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Внедрени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нноваци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без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рекращения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работы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истем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с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омощью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акетов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расширений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219" name="TextBox 134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5481638" y="1566863"/>
            <a:ext cx="312102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182880" indent="-182880" algn="ctr">
              <a:buNone/>
            </a:pPr>
            <a:r>
              <a:rPr lang="en-US" sz="1000" b="1" i="0" dirty="0" err="1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чтобы</a:t>
            </a:r>
            <a:r>
              <a:rPr lang="en-US" sz="1000" b="1" i="0" dirty="0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использовать</a:t>
            </a:r>
            <a:r>
              <a:rPr lang="en-US" sz="1000" b="1" i="0" dirty="0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новые</a:t>
            </a:r>
            <a:r>
              <a:rPr lang="en-US" sz="1000" b="1" i="0" dirty="0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F0AB00"/>
                </a:solidFill>
                <a:latin typeface="Arial"/>
                <a:ea typeface="ＭＳ Ｐゴシック"/>
                <a:cs typeface="+mn-cs"/>
              </a:rPr>
              <a:t>возможности</a:t>
            </a:r>
            <a:endParaRPr lang="en-US" sz="1000" b="1" i="0" dirty="0">
              <a:solidFill>
                <a:srgbClr val="F0AB00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Замкнуты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цикл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т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разработки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тратегии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smtClean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</a:t>
            </a:r>
            <a:r>
              <a:rPr lang="ru-RU" sz="1000" b="1" i="0" dirty="0" smtClean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 </a:t>
            </a:r>
            <a:r>
              <a:rPr lang="en-US" sz="1000" b="1" i="0" dirty="0" err="1" smtClean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ринятия</a:t>
            </a:r>
            <a:r>
              <a:rPr lang="en-US" sz="1000" b="1" i="0" dirty="0" smtClean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до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реализации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Гибкая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ред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риентированная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н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конечного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ользователя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221" name="TextBox 135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5502659" y="2999117"/>
            <a:ext cx="312102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182880" indent="-182880" algn="ctr">
              <a:buNone/>
            </a:pPr>
            <a:r>
              <a:rPr lang="en-US" sz="1000" b="1" i="0" dirty="0" err="1">
                <a:solidFill>
                  <a:srgbClr val="9E3039"/>
                </a:solidFill>
                <a:latin typeface="Arial"/>
                <a:ea typeface="ＭＳ Ｐゴシック"/>
                <a:cs typeface="+mn-cs"/>
              </a:rPr>
              <a:t>чтобы</a:t>
            </a:r>
            <a:r>
              <a:rPr lang="en-US" sz="1000" b="1" i="0" dirty="0">
                <a:solidFill>
                  <a:srgbClr val="9E3039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9E3039"/>
                </a:solidFill>
                <a:latin typeface="Arial"/>
                <a:ea typeface="ＭＳ Ｐゴシック"/>
                <a:cs typeface="+mn-cs"/>
              </a:rPr>
              <a:t>действовать</a:t>
            </a:r>
            <a:r>
              <a:rPr lang="en-US" sz="1000" b="1" i="0" dirty="0">
                <a:solidFill>
                  <a:srgbClr val="9E3039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9E3039"/>
                </a:solidFill>
                <a:latin typeface="Arial"/>
                <a:ea typeface="ＭＳ Ｐゴシック"/>
                <a:cs typeface="+mn-cs"/>
              </a:rPr>
              <a:t>быстро</a:t>
            </a:r>
            <a:endParaRPr lang="en-US" sz="1000" b="1" i="0" dirty="0">
              <a:solidFill>
                <a:srgbClr val="9E3039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9E3039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снов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инноваци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–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пределени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критически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важны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корпоративны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ервисов</a:t>
            </a:r>
            <a:endParaRPr lang="en-US" sz="1000" b="1" i="0" dirty="0">
              <a:solidFill>
                <a:srgbClr val="4D4D4D"/>
              </a:solidFill>
              <a:latin typeface="Arial"/>
              <a:ea typeface="ＭＳ Ｐゴシック"/>
              <a:cs typeface="+mn-cs"/>
            </a:endParaRPr>
          </a:p>
          <a:p>
            <a:pPr marL="182880" indent="-182880" algn="l">
              <a:buClr>
                <a:srgbClr val="9E3039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Дифференциация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клиентски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роцессов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остроенных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н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основ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комплекса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SAP Business Suite</a:t>
            </a:r>
          </a:p>
          <a:p>
            <a:pPr marL="182880" indent="-182880" algn="l">
              <a:buClr>
                <a:srgbClr val="9E3039"/>
              </a:buClr>
              <a:buSzPct val="80000"/>
              <a:buFont typeface="Wingdings"/>
              <a:buChar char="n"/>
            </a:pP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лавны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переход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к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сервисно-ориентированной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000" b="1" i="0" dirty="0" err="1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архитектуре</a:t>
            </a:r>
            <a:r>
              <a:rPr lang="en-US" sz="1000" b="1" i="0" dirty="0">
                <a:solidFill>
                  <a:srgbClr val="4D4D4D"/>
                </a:solidFill>
                <a:latin typeface="Arial"/>
                <a:ea typeface="ＭＳ Ｐゴシック"/>
                <a:cs typeface="+mn-cs"/>
              </a:rPr>
              <a:t> </a:t>
            </a:r>
          </a:p>
        </p:txBody>
      </p:sp>
      <p:sp>
        <p:nvSpPr>
          <p:cNvPr id="7222" name="TextBox 104"/>
          <p:cNvSpPr txBox="1">
            <a:spLocks noChangeArrowheads="1"/>
          </p:cNvSpPr>
          <p:nvPr/>
        </p:nvSpPr>
        <p:spPr bwMode="auto">
          <a:xfrm>
            <a:off x="147306" y="740485"/>
            <a:ext cx="815479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b="0" i="0" dirty="0" err="1">
                <a:latin typeface="Arial"/>
                <a:ea typeface="ＭＳ Ｐゴシック"/>
                <a:cs typeface="+mn-cs"/>
              </a:rPr>
              <a:t>Предоставляет</a:t>
            </a:r>
            <a:r>
              <a:rPr lang="en-US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b="0" i="0" dirty="0" err="1">
                <a:latin typeface="Arial"/>
                <a:ea typeface="ＭＳ Ｐゴシック"/>
                <a:cs typeface="+mn-cs"/>
              </a:rPr>
              <a:t>углубленую</a:t>
            </a:r>
            <a:r>
              <a:rPr lang="en-US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b="0" i="0" dirty="0" err="1">
                <a:latin typeface="Arial"/>
                <a:ea typeface="ＭＳ Ｐゴシック"/>
                <a:cs typeface="+mn-cs"/>
              </a:rPr>
              <a:t>информацию</a:t>
            </a:r>
            <a:r>
              <a:rPr lang="en-US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b="0" i="0" dirty="0" err="1">
                <a:latin typeface="Arial"/>
                <a:ea typeface="ＭＳ Ｐゴシック"/>
                <a:cs typeface="+mn-cs"/>
              </a:rPr>
              <a:t>обеспечивает</a:t>
            </a:r>
            <a:r>
              <a:rPr lang="en-US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b="0" i="0" dirty="0" err="1">
                <a:latin typeface="Arial"/>
                <a:ea typeface="ＭＳ Ｐゴシック"/>
                <a:cs typeface="+mn-cs"/>
              </a:rPr>
              <a:t>гибкость</a:t>
            </a:r>
            <a:r>
              <a:rPr lang="en-US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b="0" i="0" dirty="0" err="1">
                <a:latin typeface="Arial"/>
                <a:ea typeface="ＭＳ Ｐゴシック"/>
                <a:cs typeface="+mn-cs"/>
              </a:rPr>
              <a:t>эффективность</a:t>
            </a:r>
            <a:endParaRPr lang="en-US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22" name="Овал 121"/>
          <p:cNvSpPr/>
          <p:nvPr/>
        </p:nvSpPr>
        <p:spPr bwMode="auto">
          <a:xfrm>
            <a:off x="3390900" y="1914525"/>
            <a:ext cx="852488" cy="433388"/>
          </a:xfrm>
          <a:prstGeom prst="ellipse">
            <a:avLst/>
          </a:prstGeom>
          <a:solidFill>
            <a:srgbClr val="B3CAD7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cene3d>
              <a:camera prst="isometricOffAxis1Top"/>
              <a:lightRig rig="threePt" dir="t"/>
            </a:scene3d>
          </a:bodyPr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ru-RU">
              <a:ea typeface="Arial Unicode MS" pitchFamily="34" charset="-128"/>
            </a:endParaRPr>
          </a:p>
        </p:txBody>
      </p:sp>
      <p:grpSp>
        <p:nvGrpSpPr>
          <p:cNvPr id="7224" name="Group 113"/>
          <p:cNvGrpSpPr>
            <a:grpSpLocks noChangeAspect="1"/>
          </p:cNvGrpSpPr>
          <p:nvPr/>
        </p:nvGrpSpPr>
        <p:grpSpPr bwMode="auto">
          <a:xfrm>
            <a:off x="3387725" y="1614486"/>
            <a:ext cx="882650" cy="649643"/>
            <a:chOff x="2110" y="1023"/>
            <a:chExt cx="574" cy="454"/>
          </a:xfrm>
        </p:grpSpPr>
        <p:sp>
          <p:nvSpPr>
            <p:cNvPr id="7237" name="AutoShape 112"/>
            <p:cNvSpPr>
              <a:spLocks noChangeAspect="1" noChangeArrowheads="1" noTextEdit="1"/>
            </p:cNvSpPr>
            <p:nvPr/>
          </p:nvSpPr>
          <p:spPr bwMode="auto">
            <a:xfrm>
              <a:off x="2110" y="1023"/>
              <a:ext cx="574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38" name="Rectangle 116"/>
            <p:cNvSpPr>
              <a:spLocks noChangeArrowheads="1"/>
            </p:cNvSpPr>
            <p:nvPr/>
          </p:nvSpPr>
          <p:spPr bwMode="auto">
            <a:xfrm>
              <a:off x="2226" y="1348"/>
              <a:ext cx="329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>
                <a:buNone/>
              </a:pPr>
              <a:r>
                <a:rPr lang="ru-RU" sz="600" b="0" i="0" dirty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Отдел </a:t>
              </a:r>
              <a: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/>
              </a:r>
              <a:b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</a:br>
              <a: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маркетинга</a:t>
              </a:r>
              <a:endParaRPr lang="ru-RU" sz="600" b="0" i="0" dirty="0">
                <a:solidFill>
                  <a:srgbClr val="002060"/>
                </a:solidFill>
                <a:latin typeface="Arial Black"/>
                <a:ea typeface="ＭＳ Ｐゴシック"/>
                <a:cs typeface="+mn-cs"/>
              </a:endParaRPr>
            </a:p>
          </p:txBody>
        </p:sp>
        <p:pic>
          <p:nvPicPr>
            <p:cNvPr id="7239" name="Picture 119"/>
            <p:cNvPicPr>
              <a:picLocks noChangeAspect="1" noChangeArrowheads="1"/>
            </p:cNvPicPr>
            <p:nvPr/>
          </p:nvPicPr>
          <p:blipFill>
            <a:blip r:embed="rId54" cstate="print"/>
            <a:srcRect/>
            <a:stretch>
              <a:fillRect/>
            </a:stretch>
          </p:blipFill>
          <p:spPr bwMode="auto">
            <a:xfrm>
              <a:off x="2195" y="1059"/>
              <a:ext cx="410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24" name="Freeform 120"/>
            <p:cNvSpPr>
              <a:spLocks noEditPoints="1"/>
            </p:cNvSpPr>
            <p:nvPr/>
          </p:nvSpPr>
          <p:spPr bwMode="auto">
            <a:xfrm>
              <a:off x="2169" y="1034"/>
              <a:ext cx="459" cy="3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59" y="0"/>
                </a:cxn>
                <a:cxn ang="0">
                  <a:pos x="459" y="304"/>
                </a:cxn>
                <a:cxn ang="0">
                  <a:pos x="0" y="304"/>
                </a:cxn>
                <a:cxn ang="0">
                  <a:pos x="0" y="0"/>
                </a:cxn>
                <a:cxn ang="0">
                  <a:pos x="24" y="292"/>
                </a:cxn>
                <a:cxn ang="0">
                  <a:pos x="12" y="280"/>
                </a:cxn>
                <a:cxn ang="0">
                  <a:pos x="447" y="280"/>
                </a:cxn>
                <a:cxn ang="0">
                  <a:pos x="435" y="292"/>
                </a:cxn>
                <a:cxn ang="0">
                  <a:pos x="435" y="12"/>
                </a:cxn>
                <a:cxn ang="0">
                  <a:pos x="447" y="24"/>
                </a:cxn>
                <a:cxn ang="0">
                  <a:pos x="12" y="24"/>
                </a:cxn>
                <a:cxn ang="0">
                  <a:pos x="24" y="12"/>
                </a:cxn>
                <a:cxn ang="0">
                  <a:pos x="24" y="292"/>
                </a:cxn>
              </a:cxnLst>
              <a:rect l="0" t="0" r="r" b="b"/>
              <a:pathLst>
                <a:path w="459" h="304">
                  <a:moveTo>
                    <a:pt x="0" y="0"/>
                  </a:moveTo>
                  <a:lnTo>
                    <a:pt x="459" y="0"/>
                  </a:lnTo>
                  <a:lnTo>
                    <a:pt x="459" y="304"/>
                  </a:lnTo>
                  <a:lnTo>
                    <a:pt x="0" y="304"/>
                  </a:lnTo>
                  <a:lnTo>
                    <a:pt x="0" y="0"/>
                  </a:lnTo>
                  <a:close/>
                  <a:moveTo>
                    <a:pt x="24" y="292"/>
                  </a:moveTo>
                  <a:lnTo>
                    <a:pt x="12" y="280"/>
                  </a:lnTo>
                  <a:lnTo>
                    <a:pt x="447" y="280"/>
                  </a:lnTo>
                  <a:lnTo>
                    <a:pt x="435" y="292"/>
                  </a:lnTo>
                  <a:lnTo>
                    <a:pt x="435" y="12"/>
                  </a:lnTo>
                  <a:lnTo>
                    <a:pt x="447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292"/>
                  </a:lnTo>
                  <a:close/>
                </a:path>
              </a:pathLst>
            </a:custGeom>
            <a:solidFill>
              <a:srgbClr val="D9D9D9"/>
            </a:solidFill>
            <a:ln w="0" cap="flat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</a:endParaRPr>
            </a:p>
          </p:txBody>
        </p:sp>
      </p:grpSp>
      <p:sp>
        <p:nvSpPr>
          <p:cNvPr id="132" name="Овал 131"/>
          <p:cNvSpPr/>
          <p:nvPr/>
        </p:nvSpPr>
        <p:spPr bwMode="auto">
          <a:xfrm>
            <a:off x="2376488" y="1914525"/>
            <a:ext cx="852487" cy="433388"/>
          </a:xfrm>
          <a:prstGeom prst="ellipse">
            <a:avLst/>
          </a:prstGeom>
          <a:solidFill>
            <a:srgbClr val="B3CAD7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cene3d>
              <a:camera prst="isometricOffAxis1Top"/>
              <a:lightRig rig="threePt" dir="t"/>
            </a:scene3d>
          </a:bodyPr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ru-RU">
              <a:ea typeface="Arial Unicode MS" pitchFamily="34" charset="-128"/>
            </a:endParaRPr>
          </a:p>
        </p:txBody>
      </p:sp>
      <p:grpSp>
        <p:nvGrpSpPr>
          <p:cNvPr id="7226" name="Group 123"/>
          <p:cNvGrpSpPr>
            <a:grpSpLocks noChangeAspect="1"/>
          </p:cNvGrpSpPr>
          <p:nvPr/>
        </p:nvGrpSpPr>
        <p:grpSpPr bwMode="auto">
          <a:xfrm>
            <a:off x="2362200" y="1619250"/>
            <a:ext cx="928688" cy="668338"/>
            <a:chOff x="1479" y="1009"/>
            <a:chExt cx="600" cy="510"/>
          </a:xfrm>
        </p:grpSpPr>
        <p:sp>
          <p:nvSpPr>
            <p:cNvPr id="7233" name="AutoShape 122"/>
            <p:cNvSpPr>
              <a:spLocks noChangeAspect="1" noChangeArrowheads="1" noTextEdit="1"/>
            </p:cNvSpPr>
            <p:nvPr/>
          </p:nvSpPr>
          <p:spPr bwMode="auto">
            <a:xfrm>
              <a:off x="1479" y="1009"/>
              <a:ext cx="600" cy="5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pic>
          <p:nvPicPr>
            <p:cNvPr id="7234" name="Picture 128"/>
            <p:cNvPicPr>
              <a:picLocks noChangeAspect="1" noChangeArrowheads="1"/>
            </p:cNvPicPr>
            <p:nvPr/>
          </p:nvPicPr>
          <p:blipFill>
            <a:blip r:embed="rId55" cstate="print"/>
            <a:srcRect/>
            <a:stretch>
              <a:fillRect/>
            </a:stretch>
          </p:blipFill>
          <p:spPr bwMode="auto">
            <a:xfrm>
              <a:off x="1567" y="1045"/>
              <a:ext cx="401" cy="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35" name="Freeform 129"/>
            <p:cNvSpPr>
              <a:spLocks noEditPoints="1"/>
            </p:cNvSpPr>
            <p:nvPr/>
          </p:nvSpPr>
          <p:spPr bwMode="auto">
            <a:xfrm>
              <a:off x="1541" y="1020"/>
              <a:ext cx="450" cy="318"/>
            </a:xfrm>
            <a:custGeom>
              <a:avLst/>
              <a:gdLst>
                <a:gd name="T0" fmla="*/ 0 w 450"/>
                <a:gd name="T1" fmla="*/ 0 h 318"/>
                <a:gd name="T2" fmla="*/ 450 w 450"/>
                <a:gd name="T3" fmla="*/ 0 h 318"/>
                <a:gd name="T4" fmla="*/ 450 w 450"/>
                <a:gd name="T5" fmla="*/ 318 h 318"/>
                <a:gd name="T6" fmla="*/ 0 w 450"/>
                <a:gd name="T7" fmla="*/ 318 h 318"/>
                <a:gd name="T8" fmla="*/ 0 w 450"/>
                <a:gd name="T9" fmla="*/ 0 h 318"/>
                <a:gd name="T10" fmla="*/ 24 w 450"/>
                <a:gd name="T11" fmla="*/ 306 h 318"/>
                <a:gd name="T12" fmla="*/ 12 w 450"/>
                <a:gd name="T13" fmla="*/ 294 h 318"/>
                <a:gd name="T14" fmla="*/ 438 w 450"/>
                <a:gd name="T15" fmla="*/ 294 h 318"/>
                <a:gd name="T16" fmla="*/ 426 w 450"/>
                <a:gd name="T17" fmla="*/ 306 h 318"/>
                <a:gd name="T18" fmla="*/ 426 w 450"/>
                <a:gd name="T19" fmla="*/ 12 h 318"/>
                <a:gd name="T20" fmla="*/ 438 w 450"/>
                <a:gd name="T21" fmla="*/ 24 h 318"/>
                <a:gd name="T22" fmla="*/ 12 w 450"/>
                <a:gd name="T23" fmla="*/ 24 h 318"/>
                <a:gd name="T24" fmla="*/ 24 w 450"/>
                <a:gd name="T25" fmla="*/ 12 h 318"/>
                <a:gd name="T26" fmla="*/ 24 w 450"/>
                <a:gd name="T27" fmla="*/ 306 h 3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50"/>
                <a:gd name="T43" fmla="*/ 0 h 318"/>
                <a:gd name="T44" fmla="*/ 450 w 450"/>
                <a:gd name="T45" fmla="*/ 318 h 3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50" h="318">
                  <a:moveTo>
                    <a:pt x="0" y="0"/>
                  </a:moveTo>
                  <a:lnTo>
                    <a:pt x="450" y="0"/>
                  </a:lnTo>
                  <a:lnTo>
                    <a:pt x="450" y="318"/>
                  </a:lnTo>
                  <a:lnTo>
                    <a:pt x="0" y="318"/>
                  </a:lnTo>
                  <a:lnTo>
                    <a:pt x="0" y="0"/>
                  </a:lnTo>
                  <a:close/>
                  <a:moveTo>
                    <a:pt x="24" y="306"/>
                  </a:moveTo>
                  <a:lnTo>
                    <a:pt x="12" y="294"/>
                  </a:lnTo>
                  <a:lnTo>
                    <a:pt x="438" y="294"/>
                  </a:lnTo>
                  <a:lnTo>
                    <a:pt x="426" y="306"/>
                  </a:lnTo>
                  <a:lnTo>
                    <a:pt x="426" y="12"/>
                  </a:lnTo>
                  <a:lnTo>
                    <a:pt x="438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306"/>
                  </a:lnTo>
                  <a:close/>
                </a:path>
              </a:pathLst>
            </a:custGeom>
            <a:solidFill>
              <a:srgbClr val="D9D9D9"/>
            </a:solidFill>
            <a:ln w="0" cap="flat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36" name="Rectangle 130"/>
            <p:cNvSpPr>
              <a:spLocks noChangeArrowheads="1"/>
            </p:cNvSpPr>
            <p:nvPr/>
          </p:nvSpPr>
          <p:spPr bwMode="auto">
            <a:xfrm>
              <a:off x="1566" y="1362"/>
              <a:ext cx="411" cy="1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>
                <a:buNone/>
              </a:pPr>
              <a: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Операционная</a:t>
              </a:r>
              <a:b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</a:br>
              <a:r>
                <a:rPr lang="ru-RU" sz="600" b="0" i="0" dirty="0" smtClean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 </a:t>
              </a:r>
              <a:r>
                <a:rPr lang="ru-RU" sz="600" b="0" i="0" dirty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деятельность</a:t>
              </a:r>
            </a:p>
          </p:txBody>
        </p:sp>
      </p:grpSp>
      <p:sp>
        <p:nvSpPr>
          <p:cNvPr id="142" name="Овал 141"/>
          <p:cNvSpPr/>
          <p:nvPr/>
        </p:nvSpPr>
        <p:spPr bwMode="auto">
          <a:xfrm>
            <a:off x="1385888" y="1914525"/>
            <a:ext cx="852487" cy="433388"/>
          </a:xfrm>
          <a:prstGeom prst="ellipse">
            <a:avLst/>
          </a:prstGeom>
          <a:solidFill>
            <a:srgbClr val="B3CAD7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cene3d>
              <a:camera prst="isometricOffAxis1Top"/>
              <a:lightRig rig="threePt" dir="t"/>
            </a:scene3d>
          </a:bodyPr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ru-RU">
              <a:ea typeface="Arial Unicode MS" pitchFamily="34" charset="-128"/>
            </a:endParaRPr>
          </a:p>
        </p:txBody>
      </p:sp>
      <p:grpSp>
        <p:nvGrpSpPr>
          <p:cNvPr id="7228" name="Group 133"/>
          <p:cNvGrpSpPr>
            <a:grpSpLocks noChangeAspect="1"/>
          </p:cNvGrpSpPr>
          <p:nvPr/>
        </p:nvGrpSpPr>
        <p:grpSpPr bwMode="auto">
          <a:xfrm>
            <a:off x="1379538" y="1619250"/>
            <a:ext cx="892175" cy="703263"/>
            <a:chOff x="848" y="1044"/>
            <a:chExt cx="575" cy="453"/>
          </a:xfrm>
        </p:grpSpPr>
        <p:sp>
          <p:nvSpPr>
            <p:cNvPr id="7229" name="AutoShape 132"/>
            <p:cNvSpPr>
              <a:spLocks noChangeAspect="1" noChangeArrowheads="1" noTextEdit="1"/>
            </p:cNvSpPr>
            <p:nvPr/>
          </p:nvSpPr>
          <p:spPr bwMode="auto">
            <a:xfrm>
              <a:off x="848" y="1044"/>
              <a:ext cx="575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pic>
          <p:nvPicPr>
            <p:cNvPr id="7230" name="Picture 138"/>
            <p:cNvPicPr>
              <a:picLocks noChangeAspect="1" noChangeArrowheads="1"/>
            </p:cNvPicPr>
            <p:nvPr/>
          </p:nvPicPr>
          <p:blipFill>
            <a:blip r:embed="rId56" cstate="print"/>
            <a:srcRect/>
            <a:stretch>
              <a:fillRect/>
            </a:stretch>
          </p:blipFill>
          <p:spPr bwMode="auto">
            <a:xfrm>
              <a:off x="930" y="1080"/>
              <a:ext cx="414" cy="2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43" name="Freeform 139"/>
            <p:cNvSpPr>
              <a:spLocks noEditPoints="1"/>
            </p:cNvSpPr>
            <p:nvPr/>
          </p:nvSpPr>
          <p:spPr bwMode="auto">
            <a:xfrm>
              <a:off x="904" y="1055"/>
              <a:ext cx="443" cy="2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63" y="0"/>
                </a:cxn>
                <a:cxn ang="0">
                  <a:pos x="463" y="299"/>
                </a:cxn>
                <a:cxn ang="0">
                  <a:pos x="0" y="299"/>
                </a:cxn>
                <a:cxn ang="0">
                  <a:pos x="0" y="0"/>
                </a:cxn>
                <a:cxn ang="0">
                  <a:pos x="24" y="286"/>
                </a:cxn>
                <a:cxn ang="0">
                  <a:pos x="12" y="274"/>
                </a:cxn>
                <a:cxn ang="0">
                  <a:pos x="451" y="274"/>
                </a:cxn>
                <a:cxn ang="0">
                  <a:pos x="439" y="286"/>
                </a:cxn>
                <a:cxn ang="0">
                  <a:pos x="439" y="12"/>
                </a:cxn>
                <a:cxn ang="0">
                  <a:pos x="451" y="24"/>
                </a:cxn>
                <a:cxn ang="0">
                  <a:pos x="12" y="24"/>
                </a:cxn>
                <a:cxn ang="0">
                  <a:pos x="24" y="12"/>
                </a:cxn>
                <a:cxn ang="0">
                  <a:pos x="24" y="286"/>
                </a:cxn>
              </a:cxnLst>
              <a:rect l="0" t="0" r="r" b="b"/>
              <a:pathLst>
                <a:path w="463" h="299">
                  <a:moveTo>
                    <a:pt x="0" y="0"/>
                  </a:moveTo>
                  <a:lnTo>
                    <a:pt x="463" y="0"/>
                  </a:lnTo>
                  <a:lnTo>
                    <a:pt x="463" y="299"/>
                  </a:lnTo>
                  <a:lnTo>
                    <a:pt x="0" y="299"/>
                  </a:lnTo>
                  <a:lnTo>
                    <a:pt x="0" y="0"/>
                  </a:lnTo>
                  <a:close/>
                  <a:moveTo>
                    <a:pt x="24" y="286"/>
                  </a:moveTo>
                  <a:lnTo>
                    <a:pt x="12" y="274"/>
                  </a:lnTo>
                  <a:lnTo>
                    <a:pt x="451" y="274"/>
                  </a:lnTo>
                  <a:lnTo>
                    <a:pt x="439" y="286"/>
                  </a:lnTo>
                  <a:lnTo>
                    <a:pt x="439" y="12"/>
                  </a:lnTo>
                  <a:lnTo>
                    <a:pt x="451" y="24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24" y="286"/>
                  </a:lnTo>
                  <a:close/>
                </a:path>
              </a:pathLst>
            </a:custGeom>
            <a:solidFill>
              <a:srgbClr val="D9D9D9"/>
            </a:solidFill>
            <a:ln w="0" cap="flat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</a:endParaRPr>
            </a:p>
          </p:txBody>
        </p:sp>
        <p:sp>
          <p:nvSpPr>
            <p:cNvPr id="7232" name="Rectangle 140"/>
            <p:cNvSpPr>
              <a:spLocks noChangeArrowheads="1"/>
            </p:cNvSpPr>
            <p:nvPr/>
          </p:nvSpPr>
          <p:spPr bwMode="auto">
            <a:xfrm>
              <a:off x="994" y="1348"/>
              <a:ext cx="262" cy="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>
                <a:buNone/>
              </a:pPr>
              <a:r>
                <a:rPr lang="ru-RU" sz="600" b="0" i="0" dirty="0">
                  <a:solidFill>
                    <a:srgbClr val="002060"/>
                  </a:solidFill>
                  <a:latin typeface="Arial Black"/>
                  <a:ea typeface="ＭＳ Ｐゴシック"/>
                  <a:cs typeface="+mn-cs"/>
                </a:rPr>
                <a:t>Финансы</a:t>
              </a: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5440363" y="4400342"/>
            <a:ext cx="23118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cap="all" dirty="0">
                <a:solidFill>
                  <a:srgbClr val="002060"/>
                </a:solidFill>
                <a:effectLst>
                  <a:reflection stA="42000" endPos="54000" dist="25400" dir="5400000" sy="-100000" algn="bl" rotWithShape="0"/>
                </a:effectLst>
                <a:latin typeface="Arial Black" pitchFamily="34" charset="0"/>
              </a:rPr>
              <a:t>Эффективность</a:t>
            </a:r>
            <a:endParaRPr lang="ru-RU" cap="all" dirty="0">
              <a:solidFill>
                <a:srgbClr val="002060"/>
              </a:solidFill>
              <a:effectLst>
                <a:reflection stA="42000" endPos="54000" dist="25400" dir="5400000" sy="-100000" algn="bl" rotWithShape="0"/>
              </a:effectLst>
              <a:latin typeface="Arial Black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440363" y="1346578"/>
            <a:ext cx="32784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cap="all" dirty="0">
                <a:solidFill>
                  <a:srgbClr val="FFC000"/>
                </a:solidFill>
                <a:effectLst>
                  <a:reflection stA="42000" endPos="54000" dist="25400" dir="5400000" sy="-100000" algn="bl" rotWithShape="0"/>
                </a:effectLst>
                <a:latin typeface="Arial Black" pitchFamily="34" charset="0"/>
              </a:rPr>
              <a:t>Более подробная информация</a:t>
            </a:r>
            <a:endParaRPr lang="ru-RU" sz="1200" b="1" cap="all" dirty="0">
              <a:solidFill>
                <a:srgbClr val="FFC000"/>
              </a:solidFill>
              <a:effectLst>
                <a:reflection stA="42000" endPos="54000" dist="25400" dir="5400000" sy="-100000" algn="bl" rotWithShape="0"/>
              </a:effectLst>
              <a:latin typeface="Arial Black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40363" y="2700022"/>
            <a:ext cx="143981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cap="all" dirty="0">
                <a:solidFill>
                  <a:srgbClr val="C00000"/>
                </a:solidFill>
                <a:effectLst>
                  <a:glow>
                    <a:schemeClr val="accent1">
                      <a:alpha val="40000"/>
                    </a:schemeClr>
                  </a:glow>
                  <a:outerShdw blurRad="75057" dist="38100" dir="5400000" sy="-20000" rotWithShape="0">
                    <a:prstClr val="black">
                      <a:alpha val="25000"/>
                    </a:prstClr>
                  </a:outerShdw>
                  <a:reflection stA="42000" endPos="54000" dist="25400" dir="5400000" sy="-100000" algn="bl" rotWithShape="0"/>
                </a:effectLst>
                <a:latin typeface="Arial Black" pitchFamily="34" charset="0"/>
              </a:rPr>
              <a:t>Гибкость</a:t>
            </a:r>
            <a:endParaRPr lang="ru-RU" cap="all" dirty="0">
              <a:solidFill>
                <a:srgbClr val="C00000"/>
              </a:solidFill>
              <a:effectLst>
                <a:glow>
                  <a:schemeClr val="accent1">
                    <a:alpha val="40000"/>
                  </a:schemeClr>
                </a:glow>
                <a:outerShdw blurRad="75057" dist="38100" dir="5400000" sy="-20000" rotWithShape="0">
                  <a:prstClr val="black">
                    <a:alpha val="25000"/>
                  </a:prstClr>
                </a:outerShdw>
                <a:reflection stA="42000" endPos="54000" dist="25400" dir="5400000" sy="-100000" algn="bl" rotWithShape="0"/>
              </a:effectLst>
              <a:latin typeface="Arial Black" pitchFamily="34" charset="0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729B3B8D-C94F-42E8-B1DB-E599D90F4590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5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269162" cy="357187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омплекс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реше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SAP Business Suite (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современны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дприятие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»)</a:t>
            </a: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егендарн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лекс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л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втоматизац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изнес-процесс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строенн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снов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достоен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град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УБД IBM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B2</a:t>
            </a:r>
            <a:endParaRPr lang="en-US" alt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недр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оле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150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функциональ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новац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мощь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аке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сширений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инхронизированн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график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ыпус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се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иложений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сурса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едприят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» (SAP ERP)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заимоотношения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лиента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» (SAP CRM)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заимоотношения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ставщика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» (SAP SRM)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PLM (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жизненны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икло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дукт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»)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«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авл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огистическ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епочк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» (SAP SCM)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руг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траслев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я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ea typeface="ＭＳ Ｐゴシック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5C64BA01-0E78-43EB-8A80-1D573396F717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6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8" y="201613"/>
            <a:ext cx="7311622" cy="371593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9238" y="809625"/>
            <a:ext cx="8645525" cy="4638675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ов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имуществ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DB2?</a:t>
            </a: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ниж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затра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раструктуру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ос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изводительности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ос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изводительн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20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%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равнени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Oracle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пользован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налогич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ппарат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редст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л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Business Suite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ос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изводительн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40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%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равнени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Oracle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пользован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налогич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ппарат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редст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л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BI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груз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дминистратор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БД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окращаетс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25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%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лагодар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еспрепятствен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теграц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SAP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через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DBA Cockpit</a:t>
            </a:r>
          </a:p>
          <a:p>
            <a:pPr marL="704088" lvl="3" indent="-164592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endParaRPr lang="en-US" dirty="0" smtClean="0"/>
          </a:p>
          <a:p>
            <a:pPr marL="704088" lvl="3" indent="-164592" algn="l"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endParaRPr lang="en-US" dirty="0" smtClean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en-US" dirty="0" smtClean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en-US" dirty="0" smtClean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en-US" dirty="0" smtClean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ru-RU" dirty="0" smtClean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ru-RU" dirty="0"/>
          </a:p>
          <a:p>
            <a:pPr marL="182880" lvl="1" indent="-182880" algn="l"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endParaRPr lang="en-US" dirty="0" smtClean="0"/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оле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100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лиен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ерешл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к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пользовани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DB2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з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следн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год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ол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спеш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ереход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–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100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%.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ea typeface="ＭＳ Ｐゴシック"/>
            </a:endParaRPr>
          </a:p>
        </p:txBody>
      </p:sp>
      <p:graphicFrame>
        <p:nvGraphicFramePr>
          <p:cNvPr id="1026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9309879"/>
              </p:ext>
            </p:extLst>
          </p:nvPr>
        </p:nvGraphicFramePr>
        <p:xfrm>
          <a:off x="1616075" y="3337386"/>
          <a:ext cx="1508125" cy="138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Worksheet" r:id="rId4" imgW="1504944" imgH="1381254" progId="Excel.Sheet.8">
                  <p:embed/>
                </p:oleObj>
              </mc:Choice>
              <mc:Fallback>
                <p:oleObj name="Worksheet" r:id="rId4" imgW="1504944" imgH="1381254" progId="Excel.Shee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075" y="3337386"/>
                        <a:ext cx="1508125" cy="138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7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4428447"/>
              </p:ext>
            </p:extLst>
          </p:nvPr>
        </p:nvGraphicFramePr>
        <p:xfrm>
          <a:off x="3452813" y="3337386"/>
          <a:ext cx="1506537" cy="138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Worksheet" r:id="rId6" imgW="1504944" imgH="1381254" progId="Excel.Sheet.8">
                  <p:embed/>
                </p:oleObj>
              </mc:Choice>
              <mc:Fallback>
                <p:oleObj name="Worksheet" r:id="rId6" imgW="1504944" imgH="1381254" progId="Excel.Sheet.8">
                  <p:embed/>
                  <p:pic>
                    <p:nvPicPr>
                      <p:cNvPr id="0" name="Chart 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52813" y="3337386"/>
                        <a:ext cx="1506537" cy="138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8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2004879"/>
              </p:ext>
            </p:extLst>
          </p:nvPr>
        </p:nvGraphicFramePr>
        <p:xfrm>
          <a:off x="5289550" y="3078074"/>
          <a:ext cx="1544638" cy="1593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r:id="rId8" imgW="1542422" imgH="1591194" progId="Excel.Sheet.8">
                  <p:embed/>
                </p:oleObj>
              </mc:Choice>
              <mc:Fallback>
                <p:oleObj r:id="rId8" imgW="1542422" imgH="1591194" progId="Excel.Sheet.8">
                  <p:embed/>
                  <p:pic>
                    <p:nvPicPr>
                      <p:cNvPr id="0" name="Chart 6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89550" y="3078074"/>
                        <a:ext cx="1544638" cy="15938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own Arrow 7"/>
          <p:cNvSpPr>
            <a:spLocks noChangeArrowheads="1"/>
          </p:cNvSpPr>
          <p:nvPr/>
        </p:nvSpPr>
        <p:spPr bwMode="auto">
          <a:xfrm rot="4260000" flipV="1">
            <a:off x="2421062" y="3947542"/>
            <a:ext cx="82550" cy="381000"/>
          </a:xfrm>
          <a:prstGeom prst="downArrow">
            <a:avLst>
              <a:gd name="adj1" fmla="val 50000"/>
              <a:gd name="adj2" fmla="val 49124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/>
          </a:p>
        </p:txBody>
      </p:sp>
      <p:sp>
        <p:nvSpPr>
          <p:cNvPr id="1035" name="TextBox 8"/>
          <p:cNvSpPr txBox="1">
            <a:spLocks noChangeArrowheads="1"/>
          </p:cNvSpPr>
          <p:nvPr/>
        </p:nvSpPr>
        <p:spPr bwMode="auto">
          <a:xfrm rot="20272959">
            <a:off x="2281172" y="3955424"/>
            <a:ext cx="29495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None/>
            </a:pPr>
            <a:r>
              <a:rPr lang="en-US" sz="800" b="0" i="0" dirty="0">
                <a:latin typeface="Arial"/>
                <a:ea typeface="ＭＳ Ｐゴシック"/>
                <a:cs typeface="+mn-cs"/>
              </a:rPr>
              <a:t>+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20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%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9" name="Down Arrow 7"/>
          <p:cNvSpPr>
            <a:spLocks noChangeArrowheads="1"/>
          </p:cNvSpPr>
          <p:nvPr/>
        </p:nvSpPr>
        <p:spPr bwMode="auto">
          <a:xfrm rot="3726682" flipV="1">
            <a:off x="4264512" y="3906656"/>
            <a:ext cx="82550" cy="381000"/>
          </a:xfrm>
          <a:prstGeom prst="downArrow">
            <a:avLst>
              <a:gd name="adj1" fmla="val 50000"/>
              <a:gd name="adj2" fmla="val 49124"/>
            </a:avLst>
          </a:prstGeom>
          <a:ln>
            <a:headEnd/>
            <a:tailEnd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/>
          </a:p>
        </p:txBody>
      </p:sp>
      <p:sp>
        <p:nvSpPr>
          <p:cNvPr id="1039" name="TextBox 10"/>
          <p:cNvSpPr txBox="1">
            <a:spLocks noChangeArrowheads="1"/>
          </p:cNvSpPr>
          <p:nvPr/>
        </p:nvSpPr>
        <p:spPr bwMode="auto">
          <a:xfrm rot="19739641">
            <a:off x="4124949" y="3915030"/>
            <a:ext cx="29495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None/>
            </a:pPr>
            <a:r>
              <a:rPr lang="en-US" sz="800" b="0" i="0" dirty="0">
                <a:latin typeface="Arial"/>
                <a:ea typeface="ＭＳ Ｐゴシック"/>
                <a:cs typeface="+mn-cs"/>
              </a:rPr>
              <a:t>+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40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%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Down Arrow 7"/>
          <p:cNvSpPr>
            <a:spLocks noChangeArrowheads="1"/>
          </p:cNvSpPr>
          <p:nvPr/>
        </p:nvSpPr>
        <p:spPr bwMode="auto">
          <a:xfrm rot="6682455" flipV="1">
            <a:off x="6112946" y="3858177"/>
            <a:ext cx="82550" cy="381000"/>
          </a:xfrm>
          <a:prstGeom prst="downArrow">
            <a:avLst>
              <a:gd name="adj1" fmla="val 50000"/>
              <a:gd name="adj2" fmla="val 49124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/>
          <a:lstStyle/>
          <a:p>
            <a:pPr algn="ctr">
              <a:buClr>
                <a:schemeClr val="accent1"/>
              </a:buClr>
              <a:buSzPct val="80000"/>
              <a:buFont typeface="Wingdings" pitchFamily="2" charset="2"/>
              <a:buNone/>
              <a:defRPr/>
            </a:pPr>
            <a:endParaRPr lang="en-US"/>
          </a:p>
        </p:txBody>
      </p:sp>
      <p:sp>
        <p:nvSpPr>
          <p:cNvPr id="1043" name="TextBox 12"/>
          <p:cNvSpPr txBox="1">
            <a:spLocks noChangeArrowheads="1"/>
          </p:cNvSpPr>
          <p:nvPr/>
        </p:nvSpPr>
        <p:spPr bwMode="auto">
          <a:xfrm rot="1268928">
            <a:off x="6045683" y="3865927"/>
            <a:ext cx="2693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>
              <a:buNone/>
            </a:pPr>
            <a:r>
              <a:rPr lang="en-US" sz="800" b="0" i="0" dirty="0">
                <a:latin typeface="Arial"/>
                <a:ea typeface="ＭＳ Ｐゴシック"/>
                <a:cs typeface="+mn-cs"/>
              </a:rPr>
              <a:t>-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25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%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047" name="TextBox 17"/>
          <p:cNvSpPr txBox="1">
            <a:spLocks noChangeArrowheads="1"/>
          </p:cNvSpPr>
          <p:nvPr/>
        </p:nvSpPr>
        <p:spPr bwMode="auto">
          <a:xfrm>
            <a:off x="5414010" y="3078505"/>
            <a:ext cx="1204913" cy="3385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рудозатра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администратор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БД</a:t>
            </a:r>
          </a:p>
        </p:txBody>
      </p:sp>
      <p:sp>
        <p:nvSpPr>
          <p:cNvPr id="1048" name="TextBox 19"/>
          <p:cNvSpPr txBox="1">
            <a:spLocks noChangeArrowheads="1"/>
          </p:cNvSpPr>
          <p:nvPr/>
        </p:nvSpPr>
        <p:spPr bwMode="auto">
          <a:xfrm rot="16200000">
            <a:off x="4814322" y="3872056"/>
            <a:ext cx="1204912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рудозатраты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049" name="TextBox 21"/>
          <p:cNvSpPr txBox="1">
            <a:spLocks noChangeArrowheads="1"/>
          </p:cNvSpPr>
          <p:nvPr/>
        </p:nvSpPr>
        <p:spPr bwMode="auto">
          <a:xfrm rot="16200000">
            <a:off x="3023392" y="3930953"/>
            <a:ext cx="1204913" cy="2159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изводительность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050" name="TextBox 22"/>
          <p:cNvSpPr txBox="1">
            <a:spLocks noChangeArrowheads="1"/>
          </p:cNvSpPr>
          <p:nvPr/>
        </p:nvSpPr>
        <p:spPr bwMode="auto">
          <a:xfrm rot="16200000">
            <a:off x="1174750" y="3915005"/>
            <a:ext cx="120491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изводительность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  <p:sp>
        <p:nvSpPr>
          <p:cNvPr id="1052" name="TextBox 24"/>
          <p:cNvSpPr txBox="1">
            <a:spLocks noChangeArrowheads="1"/>
          </p:cNvSpPr>
          <p:nvPr/>
        </p:nvSpPr>
        <p:spPr bwMode="auto">
          <a:xfrm>
            <a:off x="1997868" y="3411259"/>
            <a:ext cx="919163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None/>
            </a:pPr>
            <a:r>
              <a:rPr lang="en-US" sz="500" b="0" i="0" dirty="0" err="1">
                <a:latin typeface="Arial"/>
                <a:ea typeface="ＭＳ Ｐゴシック"/>
              </a:rPr>
              <a:t>Решение</a:t>
            </a:r>
            <a:r>
              <a:rPr lang="en-US" sz="500" b="0" i="0" dirty="0">
                <a:latin typeface="Arial"/>
                <a:ea typeface="ＭＳ Ｐゴシック"/>
              </a:rPr>
              <a:t> SAP «</a:t>
            </a:r>
            <a:r>
              <a:rPr lang="en-US" sz="500" b="0" i="0" dirty="0" err="1" smtClean="0">
                <a:latin typeface="Arial"/>
                <a:ea typeface="ＭＳ Ｐゴシック"/>
              </a:rPr>
              <a:t>Управление</a:t>
            </a:r>
            <a:r>
              <a:rPr lang="ru-RU" sz="500" dirty="0">
                <a:latin typeface="Arial"/>
                <a:ea typeface="ＭＳ Ｐゴシック"/>
              </a:rPr>
              <a:t> </a:t>
            </a:r>
            <a:r>
              <a:rPr lang="en-US" sz="500" b="0" i="0" dirty="0" err="1" smtClean="0">
                <a:latin typeface="Arial"/>
                <a:ea typeface="ＭＳ Ｐゴシック"/>
              </a:rPr>
              <a:t>ресурсами</a:t>
            </a:r>
            <a:r>
              <a:rPr lang="en-US" sz="500" b="0" i="0" dirty="0" smtClean="0">
                <a:latin typeface="Arial"/>
                <a:ea typeface="ＭＳ Ｐゴシック"/>
              </a:rPr>
              <a:t> </a:t>
            </a:r>
            <a:r>
              <a:rPr lang="en-US" sz="500" b="0" i="0" dirty="0" err="1" smtClean="0">
                <a:latin typeface="Arial"/>
                <a:ea typeface="ＭＳ Ｐゴシック"/>
              </a:rPr>
              <a:t>предприяти</a:t>
            </a:r>
            <a:r>
              <a:rPr lang="ru-RU" sz="500" dirty="0" smtClean="0">
                <a:latin typeface="Arial"/>
                <a:ea typeface="ＭＳ Ｐゴシック"/>
              </a:rPr>
              <a:t>я</a:t>
            </a:r>
            <a:r>
              <a:rPr lang="en-US" sz="500" b="0" i="0" dirty="0" smtClean="0">
                <a:latin typeface="Arial"/>
                <a:ea typeface="ＭＳ Ｐゴシック"/>
              </a:rPr>
              <a:t>» </a:t>
            </a:r>
            <a:r>
              <a:rPr lang="ru-RU" sz="500" b="0" i="0" dirty="0" smtClean="0">
                <a:latin typeface="Arial"/>
                <a:ea typeface="ＭＳ Ｐゴシック"/>
              </a:rPr>
              <a:t/>
            </a:r>
            <a:br>
              <a:rPr lang="ru-RU" sz="500" b="0" i="0" dirty="0" smtClean="0">
                <a:latin typeface="Arial"/>
                <a:ea typeface="ＭＳ Ｐゴシック"/>
              </a:rPr>
            </a:br>
            <a:r>
              <a:rPr lang="en-US" sz="500" b="0" i="0" dirty="0" smtClean="0">
                <a:latin typeface="Arial"/>
                <a:ea typeface="ＭＳ Ｐゴシック"/>
              </a:rPr>
              <a:t>(</a:t>
            </a:r>
            <a:r>
              <a:rPr lang="en-US" sz="500" b="0" i="0" dirty="0">
                <a:latin typeface="Arial"/>
                <a:ea typeface="ＭＳ Ｐゴシック"/>
              </a:rPr>
              <a:t>SAP ERP)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CD75D3CF-E6DF-4061-99AA-8435BC841218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7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375451" cy="389230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9238" y="809625"/>
            <a:ext cx="8645525" cy="6048375"/>
          </a:xfrm>
        </p:spPr>
        <p:txBody>
          <a:bodyPr/>
          <a:lstStyle/>
          <a:p>
            <a:pPr marL="182880" lvl="1" indent="-18288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US" sz="18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Т и </a:t>
            </a:r>
            <a:r>
              <a:rPr lang="en-US" sz="18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актуальные</a:t>
            </a:r>
            <a:r>
              <a:rPr lang="en-US" sz="18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8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блемы</a:t>
            </a:r>
            <a:r>
              <a:rPr lang="en-US" sz="18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8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изнеса</a:t>
            </a:r>
            <a:endParaRPr lang="en-US" sz="18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ниж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лно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оимости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ладения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Защит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апиталовложений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прощ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раструктуры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пользова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овейших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технологий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ниж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здержек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ании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182880" lvl="1" indent="-182880" algn="l">
              <a:spcBef>
                <a:spcPts val="540"/>
              </a:spcBef>
              <a:spcAft>
                <a:spcPts val="0"/>
              </a:spcAft>
              <a:buNone/>
            </a:pPr>
            <a:r>
              <a:rPr lang="en-US" sz="18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е</a:t>
            </a:r>
            <a:r>
              <a:rPr lang="en-US" sz="18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Business Suite</a:t>
            </a: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нифицированны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дукт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недр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едино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тегрированно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истемы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с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оненты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дуктов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снованы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латформ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NetWeaver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овы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акеты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сширени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первы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удут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оступны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ля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сего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лекс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й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тсутств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езависимых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руг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т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руг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овых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ыпусков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онентов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пример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ERP, CRM и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.</a:t>
            </a: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недр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лекс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Business Suite с СУБД IBM DB2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едино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латформе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стран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зличных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ерси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иложени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и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азовых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технологий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–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меньшение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зрывов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между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иложениями</a:t>
            </a:r>
            <a:endParaRPr lang="en-US" sz="160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B2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ддерживает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множество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латформ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: AIX, OS/400, z/OS, Windows, Solaris, </a:t>
            </a:r>
            <a:r>
              <a:rPr lang="ru-RU" sz="160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/>
            </a:r>
            <a:br>
              <a:rPr lang="ru-RU" sz="160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</a:br>
            <a:r>
              <a:rPr lang="en-US" sz="160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HP-UX </a:t>
            </a:r>
            <a:r>
              <a:rPr lang="en-US" sz="160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 Linux</a:t>
            </a:r>
          </a:p>
        </p:txBody>
      </p:sp>
      <p:sp>
        <p:nvSpPr>
          <p:cNvPr id="9221" name="TextBox 4"/>
          <p:cNvSpPr txBox="1">
            <a:spLocks noChangeArrowheads="1"/>
          </p:cNvSpPr>
          <p:nvPr/>
        </p:nvSpPr>
        <p:spPr bwMode="auto">
          <a:xfrm>
            <a:off x="9144000" y="-1158875"/>
            <a:ext cx="2806700" cy="13880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b="1" i="0" dirty="0">
                <a:latin typeface="Arial"/>
                <a:ea typeface="ＭＳ Ｐゴシック"/>
                <a:cs typeface="+mn-cs"/>
              </a:rPr>
              <a:t>ОТКРЫТОСТЬ ИЗМЕНЯЕТ ИНФРАСТРУКТУР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ь.Opportunity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ерво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лов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торо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иходи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голов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гд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ытаем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пис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временны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ир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аль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ов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с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круж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в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лиен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вы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ровен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ффектив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в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ход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й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легк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ж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спольз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ес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уде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Ес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ужна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нформац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падае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к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ужны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юдя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ужно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рем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крыт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гае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лад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год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артнёрск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но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аё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говор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дно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язык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ейств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гласован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крыт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гае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ыстр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недр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начим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нновац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,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кроме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лагодар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крыт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гу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едвосхищ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стоян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змен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акросред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реагировать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зор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ветствен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раеуголь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мн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крыт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льк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г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ч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1" i="0" dirty="0">
                <a:latin typeface="Arial"/>
                <a:ea typeface="ＭＳ Ｐゴシック"/>
                <a:cs typeface="+mn-cs"/>
              </a:rPr>
              <a:t>САМЫЕ ВЫГОДНЫЕ КЛИЕНТЫ ПРИХОДЯТ К ВАМ БЛАГОДАРЯ ПРОЗРАЧ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егодн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гд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лиен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та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азборчивы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икогд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райн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аж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станов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ес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заимоотно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с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ни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пособству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м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зволя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ес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заимодейств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с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и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лиента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ивня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заимоотно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ежд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а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-сетью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клиентами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ж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ч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сок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ровн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слуг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едлож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нновацион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популярные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дук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слуг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>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тог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игрыш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кажетес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аш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лиен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н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луча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мен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хотя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ч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ужны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ро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А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авою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ояль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лиентов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обходимую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л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хран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ынк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ru-RU" sz="800" b="1" dirty="0"/>
              <a:t>В НОВОМ МИРЕ ВЫ СМОЖЕТЕ ВИДЕТЬ БОЛЕЕ ПОЛНУЮ КАРТИНУ ПРОИСХОДЯЩЕГО</a:t>
            </a:r>
            <a:endParaRPr lang="ru-RU" sz="800" dirty="0"/>
          </a:p>
          <a:p>
            <a:r>
              <a:rPr lang="ru-RU" sz="800" b="1" dirty="0"/>
              <a:t>ПРОЗРАЧНОСТЬ ПОЗВОЛЯЕТ ОПТИМИЗИРОВАТЬ ДЕНЕЖНЫЕ </a:t>
            </a:r>
            <a:r>
              <a:rPr lang="ru-RU" sz="800" b="1" dirty="0" smtClean="0"/>
              <a:t>ПОТОКИ </a:t>
            </a:r>
            <a:r>
              <a:rPr lang="ru-RU" sz="800" dirty="0" smtClean="0"/>
              <a:t>Из-за </a:t>
            </a:r>
            <a:r>
              <a:rPr lang="ru-RU" sz="800" dirty="0"/>
              <a:t>сегодняшних цен </a:t>
            </a:r>
            <a:r>
              <a:rPr lang="ru-RU" sz="800" dirty="0" smtClean="0"/>
              <a:t>на сырьё</a:t>
            </a:r>
            <a:r>
              <a:rPr lang="ru-RU" sz="800" dirty="0"/>
              <a:t>, процентных ставок </a:t>
            </a:r>
            <a:r>
              <a:rPr lang="ru-RU" sz="800" dirty="0" smtClean="0"/>
              <a:t>и курсов </a:t>
            </a:r>
            <a:r>
              <a:rPr lang="ru-RU" sz="800" dirty="0"/>
              <a:t>валют компаниям стало ещё труднее добиваться нужного уровня ликвидности и сохранять прежнюю рентабельность</a:t>
            </a:r>
            <a:r>
              <a:rPr lang="ru-RU" sz="800" dirty="0" smtClean="0"/>
              <a:t>. 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Бизнес-приложения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еспечив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в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реальном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ремен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зульта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мож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ч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цен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треб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личны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редства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а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ж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виде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коном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аксималь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спольз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ё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зволи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выс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нтабель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лучш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стоян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ухгалтерск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алан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1" i="0" dirty="0">
                <a:latin typeface="Arial"/>
                <a:ea typeface="ＭＳ Ｐゴシック"/>
                <a:cs typeface="+mn-cs"/>
              </a:rPr>
              <a:t>ПРОЗРАЧНОСТЬ ПОЗВОЯЛЕТ ВЫЯВЛЯТЬ НЕЭФФЕКТИВ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змен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ирово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кономик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зван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ьше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а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кращение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атра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ослабевающе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нкуренциtq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казыв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ё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ьш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авлен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вынуждают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ниж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перацион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асход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ыч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прос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кольк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ластя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даст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ч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пособству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м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еспечив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ьшую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-процессов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птимизир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еятель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еимуществ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–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ос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нтабель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жен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гибк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зволяюще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ыстр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веч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змен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словия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ед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endParaRPr lang="ru-RU" sz="800" b="0" i="0" dirty="0" smtClean="0">
              <a:latin typeface="Arial"/>
              <a:ea typeface="ＭＳ Ｐゴシック"/>
              <a:cs typeface="+mn-cs"/>
            </a:endParaRPr>
          </a:p>
          <a:p>
            <a:r>
              <a:rPr lang="ru-RU" sz="800" b="1" dirty="0" smtClean="0"/>
              <a:t>В </a:t>
            </a:r>
            <a:r>
              <a:rPr lang="ru-RU" sz="800" b="1" dirty="0"/>
              <a:t>НОВОМ МИРЕ ПРОЗРАЧНОСТЬ – ЭТО НЕ ДОПОЛНИТЕЛЬНЫЙ ФАКТОР, А </a:t>
            </a:r>
            <a:r>
              <a:rPr lang="ru-RU" sz="800" b="1" dirty="0" smtClean="0"/>
              <a:t>НЕОБХОДИМОСТЬ</a:t>
            </a:r>
          </a:p>
          <a:p>
            <a:endParaRPr lang="ru-RU" sz="800" dirty="0"/>
          </a:p>
          <a:p>
            <a:r>
              <a:rPr lang="ru-RU" sz="800" b="1" dirty="0"/>
              <a:t>ПРОЗРАЧНОСТЬ СПОСОБСТВУЕТ УСТОЙЧИВОСТИ </a:t>
            </a:r>
            <a:endParaRPr lang="ru-RU" sz="800" dirty="0"/>
          </a:p>
          <a:p>
            <a:r>
              <a:rPr lang="ru-RU" sz="800" dirty="0"/>
              <a:t>Устойчивость – это нечто большее, чем просто знание того, какой у компании «углеродный след</a:t>
            </a:r>
            <a:r>
              <a:rPr lang="ru-RU" sz="800" dirty="0" smtClean="0"/>
              <a:t>». 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лгосрочна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птимизац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-се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лучен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нформац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аспекта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в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реальном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ремен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лагодар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ем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гает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дотчёт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а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акж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верен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в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устойчивом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азвит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удуще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г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учш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спольз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сурс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зволя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средоточить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ос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нтабель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уду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иветств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акционер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ществ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в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цело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1" i="0" dirty="0">
                <a:latin typeface="Arial"/>
                <a:ea typeface="ＭＳ Ｐゴシック"/>
                <a:cs typeface="+mn-cs"/>
              </a:rPr>
              <a:t>ПРОЗРАЧНОСТЬ ПОЗВОЛЯЕТ ВЫЯВИТЬ РИС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стран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ис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?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Едв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яв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е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дготовить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?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езуслов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ени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SAP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пособн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ч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ш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блем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/>
            </a:r>
            <a:br>
              <a:rPr lang="ru-RU" sz="800" b="0" i="0" dirty="0" smtClean="0">
                <a:latin typeface="Arial"/>
                <a:ea typeface="ＭＳ Ｐゴシック"/>
                <a:cs typeface="+mn-cs"/>
              </a:rPr>
            </a:b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С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мощью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мож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юбо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мен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прогнозиров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лич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лабы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ес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юбо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ес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рганизац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ж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рем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низ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уклон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растающ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атрат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блюдени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р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м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ир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иболе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ущественны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мен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: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может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дготовить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к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блема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л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аж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збеж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со</a:t>
            </a:r>
            <a:r>
              <a:rPr lang="ru-RU" sz="800" dirty="0">
                <a:latin typeface="Arial"/>
                <a:ea typeface="ＭＳ Ｐゴシック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значительным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преждение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0" i="0" dirty="0">
                <a:latin typeface="Arial"/>
                <a:ea typeface="ＭＳ Ｐゴシック"/>
                <a:cs typeface="+mn-cs"/>
              </a:rPr>
              <a:t/>
            </a:r>
            <a:br>
              <a:rPr lang="en-US" sz="800" b="0" i="0" dirty="0">
                <a:latin typeface="Arial"/>
                <a:ea typeface="ＭＳ Ｐゴシック"/>
                <a:cs typeface="+mn-cs"/>
              </a:rPr>
            </a:br>
            <a:r>
              <a:rPr lang="en-US" sz="800" b="1" i="0" dirty="0">
                <a:latin typeface="Arial"/>
                <a:ea typeface="ＭＳ Ｐゴシック"/>
                <a:cs typeface="+mn-cs"/>
              </a:rPr>
              <a:t>В НОВОМ МИРЕ ВЫ МОЖЕТЕ ПОДРОБНЕЕ РАССМОТРЕТЬ ОБЩУЮ КАРТИН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еремен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ж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ачалис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н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ависим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азмеров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ашей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мпани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фер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её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еятель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еобходим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иде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ак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составн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а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ашег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изне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гу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абот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лучш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чтобы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ыяви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новы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озможност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и</a:t>
            </a:r>
            <a:r>
              <a:rPr lang="ru-RU" sz="800" b="0" i="0" dirty="0" smtClean="0">
                <a:latin typeface="Arial"/>
                <a:ea typeface="ＭＳ Ｐゴシック"/>
                <a:cs typeface="+mn-cs"/>
              </a:rPr>
              <a:t> </a:t>
            </a:r>
            <a:r>
              <a:rPr lang="en-US" sz="800" b="0" i="0" dirty="0" err="1" smtClean="0">
                <a:latin typeface="Arial"/>
                <a:ea typeface="ＭＳ Ｐゴシック"/>
                <a:cs typeface="+mn-cs"/>
              </a:rPr>
              <a:t>опередить</a:t>
            </a:r>
            <a:r>
              <a:rPr lang="en-US" sz="800" b="0" i="0" dirty="0" smtClean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нкурентов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зрачнос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зволяе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вигаться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перёд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и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елат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эт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думан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оскольку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в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нечном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итог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ьших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результатов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можно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достичь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тогд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,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когд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все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участник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процесса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обладают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больши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 </a:t>
            </a: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знаниями</a:t>
            </a:r>
            <a:r>
              <a:rPr lang="en-US" sz="800" b="0" i="0" dirty="0">
                <a:latin typeface="Arial"/>
                <a:ea typeface="ＭＳ Ｐゴシック"/>
                <a:cs typeface="+mn-cs"/>
              </a:rPr>
              <a:t>.</a:t>
            </a:r>
          </a:p>
          <a:p>
            <a:pPr lvl="3" algn="l">
              <a:buNone/>
            </a:pPr>
            <a:endParaRPr lang="en-US" sz="800" dirty="0" smtClean="0"/>
          </a:p>
          <a:p>
            <a:pPr lvl="1" algn="l">
              <a:buNone/>
            </a:pPr>
            <a:endParaRPr lang="en-US" sz="800" dirty="0" smtClean="0"/>
          </a:p>
          <a:p>
            <a:pPr lvl="3" algn="l">
              <a:buNone/>
            </a:pPr>
            <a:endParaRPr lang="en-US" sz="800" dirty="0" smtClean="0"/>
          </a:p>
          <a:p>
            <a:pPr algn="l">
              <a:buNone/>
            </a:pPr>
            <a:endParaRPr lang="en-US" sz="800" dirty="0" smtClean="0"/>
          </a:p>
          <a:p>
            <a:pPr algn="l">
              <a:buNone/>
            </a:pPr>
            <a:r>
              <a:rPr lang="en-US" sz="800" b="0" i="0" dirty="0" err="1">
                <a:latin typeface="Arial"/>
                <a:ea typeface="ＭＳ Ｐゴシック"/>
                <a:cs typeface="+mn-cs"/>
              </a:rPr>
              <a:t>asd</a:t>
            </a:r>
            <a:endParaRPr lang="en-US" sz="800" b="0" i="0" dirty="0">
              <a:latin typeface="Arial"/>
              <a:ea typeface="ＭＳ Ｐゴシック"/>
              <a:cs typeface="+mn-cs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1BAAF648-EC06-4EC7-B70E-8725810D13E4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8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448099" cy="357945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9238" y="809625"/>
            <a:ext cx="8645525" cy="5705475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Как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имуществ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олучит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В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ы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?  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одробная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информац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гибкос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эффективность</a:t>
            </a:r>
            <a:endParaRPr lang="en-US" sz="1500" b="0" i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ru-RU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Подробная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информация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ос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озрачност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еятельност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едина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ерс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изнес-данны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л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инят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оле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звешенны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решений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огласова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текуще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еятельност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тратеги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едприят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–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озда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огласова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ланов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юджетов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перационно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чётност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о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се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одразделения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л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се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бизнес-процессов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Многолетни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пы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SAP 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амы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азны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раслях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Формирова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едприят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которо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еагиру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ыстре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гибко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удовлетворя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овы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требова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ынк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веча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требованиям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клиентов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охраня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конкурентны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еимуществ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олгосрочно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перспективе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Гибкость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еш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остав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комплекс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SAP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Buisness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Suite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остроены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снов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ервисов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недре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инноваци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обавле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функциональны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озможносте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в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илож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при</a:t>
            </a:r>
            <a:r>
              <a:rPr lang="ru-RU" sz="1500" dirty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необходимости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бновл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ыл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заменены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акетам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асширений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–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это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омож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В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ам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недря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инноваци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аращиват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изнес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ез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аруш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еятельности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Компонуйт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азрабатывайт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овы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оцессы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,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недряйт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дельны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риложе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в</a:t>
            </a:r>
            <a:r>
              <a:rPr lang="ru-RU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 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зависимости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юджет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азмеров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задач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и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выполняйт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интеграцию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с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ишевым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решениями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сторонни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 smtClean="0">
                <a:solidFill>
                  <a:srgbClr val="000000"/>
                </a:solidFill>
                <a:latin typeface="Arial"/>
                <a:cs typeface="+mn-cs"/>
              </a:rPr>
              <a:t>производителей</a:t>
            </a:r>
            <a:r>
              <a:rPr lang="en-US" sz="1500" b="0" i="0" dirty="0" smtClean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endParaRPr lang="en-US" sz="1500" b="0" i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Переобучени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а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DB2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бычно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занимает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олее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двух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недель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благодар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объединённым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функциям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</a:t>
            </a:r>
            <a:r>
              <a:rPr lang="en-US" sz="1500" b="0" i="0" dirty="0" err="1">
                <a:solidFill>
                  <a:srgbClr val="000000"/>
                </a:solidFill>
                <a:latin typeface="Arial"/>
                <a:cs typeface="+mn-cs"/>
              </a:rPr>
              <a:t>администрирования</a:t>
            </a:r>
            <a:r>
              <a:rPr lang="en-US" sz="1500" b="0" i="0" dirty="0">
                <a:solidFill>
                  <a:srgbClr val="000000"/>
                </a:solidFill>
                <a:latin typeface="Arial"/>
                <a:cs typeface="+mn-cs"/>
              </a:rPr>
              <a:t> БД</a:t>
            </a: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52400" y="6721475"/>
            <a:ext cx="1962076" cy="107722"/>
          </a:xfrm>
          <a:noFill/>
        </p:spPr>
        <p:txBody>
          <a:bodyPr/>
          <a:lstStyle/>
          <a:p>
            <a:pPr algn="l">
              <a:buNone/>
            </a:pP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© 2009 SAP AG. </a:t>
            </a:r>
            <a:r>
              <a:rPr lang="ru-RU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Все права защищены</a:t>
            </a:r>
            <a:r>
              <a:rPr lang="en-US" sz="700" b="0" i="0" dirty="0" smtClean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/ </a:t>
            </a:r>
            <a:r>
              <a:rPr lang="en-US" sz="700" b="0" i="0" dirty="0" err="1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Стр</a:t>
            </a:r>
            <a:r>
              <a:rPr lang="en-US" sz="700" b="0" i="0" dirty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t>. </a:t>
            </a:r>
            <a:fld id="{066BB279-EBF6-427C-AAD7-9C3AEFAFCC38}" type="slidenum">
              <a:rPr lang="en-US" sz="700" b="0" i="0">
                <a:solidFill>
                  <a:srgbClr val="666666"/>
                </a:solidFill>
                <a:latin typeface="Arial"/>
                <a:ea typeface="ＭＳ Ｐゴシック"/>
                <a:cs typeface="+mn-cs"/>
              </a:rPr>
              <a:pPr algn="l">
                <a:buNone/>
              </a:pPr>
              <a:t>9</a:t>
            </a:fld>
            <a:endParaRPr lang="en-US" sz="700" b="0" i="0" dirty="0">
              <a:solidFill>
                <a:srgbClr val="66666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37" y="201613"/>
            <a:ext cx="7352565" cy="385241"/>
          </a:xfrm>
        </p:spPr>
        <p:txBody>
          <a:bodyPr/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Комплекс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</a:t>
            </a:r>
            <a:r>
              <a:rPr lang="de-DE" sz="1800" b="0" i="0" dirty="0" err="1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решений</a:t>
            </a:r>
            <a:r>
              <a:rPr lang="de-DE" sz="1800" b="0" i="0" dirty="0">
                <a:solidFill>
                  <a:srgbClr val="44697D"/>
                </a:solidFill>
                <a:latin typeface="Arial Black"/>
                <a:ea typeface="ＭＳ Ｐゴシック"/>
                <a:cs typeface="+mj-cs"/>
              </a:rPr>
              <a:t> SAP Business Suite с СУБД IBM DB2</a:t>
            </a:r>
          </a:p>
        </p:txBody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9238" y="735013"/>
            <a:ext cx="8645525" cy="5386387"/>
          </a:xfrm>
        </p:spPr>
        <p:txBody>
          <a:bodyPr/>
          <a:lstStyle/>
          <a:p>
            <a:pPr marL="0" indent="0" algn="l">
              <a:spcBef>
                <a:spcPts val="1440"/>
              </a:spcBef>
              <a:spcAft>
                <a:spcPts val="0"/>
              </a:spcAft>
              <a:buNone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еимуществ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 (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продолжение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)</a:t>
            </a:r>
            <a:endParaRPr lang="en-US" sz="1600" b="0" i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  <a:p>
            <a:pPr marL="182880" lvl="1" indent="-182880" algn="l">
              <a:spcBef>
                <a:spcPts val="48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Эффективность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сширенн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лексн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цесс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вышаю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дёжность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еду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к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величени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эффективн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Т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изнес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в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елом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имулирова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овмест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абот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нутр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ан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з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её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еделам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.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Таки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бразом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ы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может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пользовать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ормаци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о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огистическ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епочк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 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дажа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ступающу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ставщик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истрибьютор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давц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лиен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</a:t>
            </a:r>
            <a:r>
              <a:rPr lang="ru-RU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 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лучшить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еятельность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омпани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с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мощью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эт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ормации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ниж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л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оим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ладен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чист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Т-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нфраструктур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ишни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элементов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станов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строй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з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один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шаг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Фиксированна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оимость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еревод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уществующи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баз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анных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DB2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огласованны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циклы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ыпуск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DB2 и SAP.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нижени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начально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оимост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ицензи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опровождения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539496" lvl="2" indent="-192024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Wingdings"/>
              <a:buChar char="n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Улучшенна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труктур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ддержки</a:t>
            </a:r>
            <a:endParaRPr lang="en-US" sz="1600" b="0" i="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Единый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источник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шения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робле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и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ддержк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клиен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IBM DB2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соблюдает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литику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ддержки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5-1-2</a:t>
            </a:r>
          </a:p>
          <a:p>
            <a:pPr marL="704088" lvl="3" indent="-164592" algn="l">
              <a:spcBef>
                <a:spcPts val="480"/>
              </a:spcBef>
              <a:spcAft>
                <a:spcPts val="0"/>
              </a:spcAft>
              <a:buClr>
                <a:srgbClr val="666666"/>
              </a:buClr>
              <a:buSzPct val="80000"/>
              <a:buFont typeface="Arial"/>
              <a:buChar char="–"/>
            </a:pP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ддержка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вопросам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дефектов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SAP DB2 в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режиме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24x7 </a:t>
            </a:r>
            <a:r>
              <a:rPr lang="en-US" sz="1600" b="0" i="0" dirty="0" err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по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горячей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 err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линии</a:t>
            </a:r>
            <a:r>
              <a:rPr lang="en-US" sz="16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n-US" sz="1600" b="0" i="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AP</a:t>
            </a:r>
          </a:p>
          <a:p>
            <a:pPr mar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>
              <a:ea typeface="ＭＳ Ｐゴシック"/>
            </a:endParaRPr>
          </a:p>
        </p:txBody>
      </p:sp>
    </p:spTree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8"/>
  <p:tag name="MMPROD_UIDATA" val="&lt;database version=&quot;6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Title of the presentation&amp;#x0D;&amp;#x0A;This is the subtitle&amp;quot;&quot;/&gt;&lt;property id=&quot;20307&quot; value=&quot;488&quot;/&gt;&lt;/object&gt;&lt;object type=&quot;3&quot; unique_id=&quot;10005&quot;&gt;&lt;property id=&quot;20148&quot; value=&quot;5&quot;/&gt;&lt;property id=&quot;20300&quot; value=&quot;Slide 2 - &amp;quot;Title of the presentation&amp;#x0D;&amp;#x0A;This is the subtitle&amp;quot;&quot;/&gt;&lt;property id=&quot;20307&quot; value=&quot;560&quot;/&gt;&lt;/object&gt;&lt;object type=&quot;3&quot; unique_id=&quot;10007&quot;&gt;&lt;property id=&quot;20148&quot; value=&quot;5&quot;/&gt;&lt;property id=&quot;20300&quot; value=&quot;Slide 4 - &amp;quot;Agenda&amp;quot;&quot;/&gt;&lt;property id=&quot;20307&quot; value=&quot;557&quot;/&gt;&lt;/object&gt;&lt;object type=&quot;3&quot; unique_id=&quot;10008&quot;&gt;&lt;property id=&quot;20148&quot; value=&quot;5&quot;/&gt;&lt;property id=&quot;20300&quot; value=&quot;Slide 5 - &amp;quot;Title&amp;quot;&quot;/&gt;&lt;property id=&quot;20307&quot; value=&quot;553&quot;/&gt;&lt;/object&gt;&lt;object type=&quot;3&quot; unique_id=&quot;10009&quot;&gt;&lt;property id=&quot;20148&quot; value=&quot;5&quot;/&gt;&lt;property id=&quot;20300&quot; value=&quot;Slide 6&quot;/&gt;&lt;property id=&quot;20307&quot; value=&quot;559&quot;/&gt;&lt;/object&gt;&lt;object type=&quot;3&quot; unique_id=&quot;10010&quot;&gt;&lt;property id=&quot;20148&quot; value=&quot;5&quot;/&gt;&lt;property id=&quot;20300&quot; value=&quot;Slide 7 - &amp;quot;Grid&amp;quot;&quot;/&gt;&lt;property id=&quot;20307&quot; value=&quot;551&quot;/&gt;&lt;/object&gt;&lt;object type=&quot;3&quot; unique_id=&quot;10011&quot;&gt;&lt;property id=&quot;20148&quot; value=&quot;5&quot;/&gt;&lt;property id=&quot;20300&quot; value=&quot;Slide 9 - &amp;quot;Copyright 2008 SAP AG&amp;#x0D;&amp;#x0A;All rights reserved&amp;quot;&quot;/&gt;&lt;property id=&quot;20307&quot; value=&quot;554&quot;/&gt;&lt;/object&gt;&lt;object type=&quot;3&quot; unique_id=&quot;11017&quot;&gt;&lt;property id=&quot;20148&quot; value=&quot;5&quot;/&gt;&lt;property id=&quot;20300&quot; value=&quot;Slide 3 - &amp;quot;Agenda&amp;quot;&quot;/&gt;&lt;property id=&quot;20307&quot; value=&quot;562&quot;/&gt;&lt;/object&gt;&lt;object type=&quot;3&quot; unique_id=&quot;11018&quot;&gt;&lt;property id=&quot;20148&quot; value=&quot;5&quot;/&gt;&lt;property id=&quot;20300&quot; value=&quot;Slide 8 - &amp;quot;Definition and halftone values of colors&amp;quot;&quot;/&gt;&lt;property id=&quot;20307&quot; value=&quot;561&quot;/&gt;&lt;/object&gt;&lt;/object&gt;&lt;/object&gt;&lt;/database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w8Xp53g0Cw2f15XDf7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f7foCWOUWLN_LfeM9h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HhrJqs4EmRXCzqC.CB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zypX.3mE6QDC0N5Nhn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thTuJ0bEOSxGoDDriB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f2.TWahkytWeJMeJ1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IkQypPjUOSc7qN7ir1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W3JhsXl0CZUHxLyisg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.KJCyE6EGWkdtqegyO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_BbBay1kG.YO2P2UVE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6NcfSlz0KB6Y9xhtx1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Z36LxfF0Ss0W0tdiV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pW5neuZUeL.tTa1z5B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.DNsJwukWIUGqkVZyF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53Y1LA8UuU5GcDkG.h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y0xjmxUiDg4q_EVsw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9Nsoryrk6Otv3KXY6V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VX9VMWbkWRid.HQ.MZ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l1bCT4bkGaeWn.S6de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5kjY.ymUC6AXjHFoEO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T7za3LkUy3cf_V57wk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6NcfSlz0KB6Y9xhtx1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NXCYJSY0SWpUkXVxF4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W_Y4d5gEyo5h4G28ik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NXCYJSY0SWpUkXVxF4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HCQF9k70Se0D7eetxO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1AJT3qiEehfjkGrljE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HKFF0gjkWQt4AgfTfB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xvkPJ0o0SdGjJ1HaMy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kT6oTlf0Czd.oYJrac2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co53lgJ0iQcFDhYTn6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q_SsTJHUmQAGqZPjF4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6NcfSlz0KB6Y9xhtx1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fnavDeUu4Iy18bvlM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djSXgdMUmF3BHs.BZw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H000RyEGsbQqe6R1W5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q12jbuiku8BoYxZwCz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2Kn3iBZEG9LWH5fUd2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YwUEleO06yyMq.gqGR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BJ0rxR_k.mPy2Mlv7h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9Whf32RE2uIuVKKwDv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cjIoR0ckCT8M_imDeI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XJZrYdIE6mx8_yVNIq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rgPdeWWke5ylE39nqS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MzaJgkWiiKXaWGSU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.1Wgc7V0q2nnDSYXLv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woLxHv0GXBOV_ot8S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ps9gdWk6XsVq8mA6F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cjIoR0ckCT8M_imDeI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oPMzaJgkWiiKXaWGSU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.1Wgc7V0q2nnDSYXLv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XJZrYdIE6mx8_yVNIq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woLxHv0GXBOV_ot8S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ps9gdWk6XsVq8mA6F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_vanUYTE.Y8UjPahh4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xuQgWaIUq8b3exdzhr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QV.DpahkyJMYIqRNVQ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Eya954CE6RRAuzd8pOGg"/>
</p:tagLst>
</file>

<file path=ppt/theme/theme1.xml><?xml version="1.0" encoding="utf-8"?>
<a:theme xmlns:a="http://schemas.openxmlformats.org/drawingml/2006/main" name="SAP_corporate2009_1.0">
  <a:themeElements>
    <a:clrScheme name="SAP_corporate2009_1.0 1">
      <a:dk1>
        <a:srgbClr val="000000"/>
      </a:dk1>
      <a:lt1>
        <a:srgbClr val="FFFFFF"/>
      </a:lt1>
      <a:dk2>
        <a:srgbClr val="44697D"/>
      </a:dk2>
      <a:lt2>
        <a:srgbClr val="CCCCCC"/>
      </a:lt2>
      <a:accent1>
        <a:srgbClr val="F0AB00"/>
      </a:accent1>
      <a:accent2>
        <a:srgbClr val="666666"/>
      </a:accent2>
      <a:accent3>
        <a:srgbClr val="FFFFFF"/>
      </a:accent3>
      <a:accent4>
        <a:srgbClr val="000000"/>
      </a:accent4>
      <a:accent5>
        <a:srgbClr val="F6D2AA"/>
      </a:accent5>
      <a:accent6>
        <a:srgbClr val="5C5C5C"/>
      </a:accent6>
      <a:hlink>
        <a:srgbClr val="04357B"/>
      </a:hlink>
      <a:folHlink>
        <a:srgbClr val="999999"/>
      </a:folHlink>
    </a:clrScheme>
    <a:fontScheme name="SAP_corporate2009_1.0">
      <a:majorFont>
        <a:latin typeface="Arial Black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SAP_corporate2009_1.0 1">
        <a:dk1>
          <a:srgbClr val="000000"/>
        </a:dk1>
        <a:lt1>
          <a:srgbClr val="FFFFFF"/>
        </a:lt1>
        <a:dk2>
          <a:srgbClr val="44697D"/>
        </a:dk2>
        <a:lt2>
          <a:srgbClr val="CCCCCC"/>
        </a:lt2>
        <a:accent1>
          <a:srgbClr val="F0AB00"/>
        </a:accent1>
        <a:accent2>
          <a:srgbClr val="666666"/>
        </a:accent2>
        <a:accent3>
          <a:srgbClr val="FFFFFF"/>
        </a:accent3>
        <a:accent4>
          <a:srgbClr val="000000"/>
        </a:accent4>
        <a:accent5>
          <a:srgbClr val="F6D2AA"/>
        </a:accent5>
        <a:accent6>
          <a:srgbClr val="5C5C5C"/>
        </a:accent6>
        <a:hlink>
          <a:srgbClr val="04357B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44697D"/>
      </a:dk2>
      <a:lt2>
        <a:srgbClr val="CCCCCC"/>
      </a:lt2>
      <a:accent1>
        <a:srgbClr val="F0AB00"/>
      </a:accent1>
      <a:accent2>
        <a:srgbClr val="666666"/>
      </a:accent2>
      <a:accent3>
        <a:srgbClr val="FFFFFF"/>
      </a:accent3>
      <a:accent4>
        <a:srgbClr val="000000"/>
      </a:accent4>
      <a:accent5>
        <a:srgbClr val="F6D2AA"/>
      </a:accent5>
      <a:accent6>
        <a:srgbClr val="5C5C5C"/>
      </a:accent6>
      <a:hlink>
        <a:srgbClr val="04357B"/>
      </a:hlink>
      <a:folHlink>
        <a:srgbClr val="9999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P_corporate2009_1.0</Template>
  <TotalTime>1257</TotalTime>
  <Words>2129</Words>
  <Application>Microsoft Office PowerPoint</Application>
  <PresentationFormat>Экран (4:3)</PresentationFormat>
  <Paragraphs>322</Paragraphs>
  <Slides>21</Slides>
  <Notes>21</Notes>
  <HiddenSlides>2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24" baseType="lpstr">
      <vt:lpstr>SAP_corporate2009_1.0</vt:lpstr>
      <vt:lpstr>Worksheet</vt:lpstr>
      <vt:lpstr>Лист Microsoft Excel 97-2003</vt:lpstr>
      <vt:lpstr>Комплекс решений SAP Business Suite с СУБД IBM DB2 Откройте окно в новый мир</vt:lpstr>
      <vt:lpstr>Основные положения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Комплекс решений SAP Business Suite с СУБД IBM DB2</vt:lpstr>
      <vt:lpstr>Презентация PowerPoint</vt:lpstr>
      <vt:lpstr>SAP AG, 2007 г. Все права защищены.</vt:lpstr>
      <vt:lpstr>Комплекс решений SAP Business Suite с СУБД IBM DB2</vt:lpstr>
    </vt:vector>
  </TitlesOfParts>
  <Company> 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This is the Subtitle</dc:title>
  <dc:subject/>
  <dc:creator>Lisa.Keeler</dc:creator>
  <cp:lastModifiedBy>Пресики</cp:lastModifiedBy>
  <cp:revision>112</cp:revision>
  <cp:lastPrinted>2007-06-14T07:13:14Z</cp:lastPrinted>
  <dcterms:created xsi:type="dcterms:W3CDTF">2009-05-27T17:18:28Z</dcterms:created>
  <dcterms:modified xsi:type="dcterms:W3CDTF">2011-10-17T19:16:37Z</dcterms:modified>
</cp:coreProperties>
</file>